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5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6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7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8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7.xml" ContentType="application/vnd.openxmlformats-officedocument.drawingml.chart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724" r:id="rId5"/>
    <p:sldMasterId id="2147483781" r:id="rId6"/>
    <p:sldMasterId id="2147483805" r:id="rId7"/>
    <p:sldMasterId id="2147483813" r:id="rId8"/>
    <p:sldMasterId id="2147483856" r:id="rId9"/>
    <p:sldMasterId id="2147483864" r:id="rId10"/>
    <p:sldMasterId id="2147483922" r:id="rId11"/>
  </p:sldMasterIdLst>
  <p:notesMasterIdLst>
    <p:notesMasterId r:id="rId52"/>
  </p:notesMasterIdLst>
  <p:handoutMasterIdLst>
    <p:handoutMasterId r:id="rId53"/>
  </p:handoutMasterIdLst>
  <p:sldIdLst>
    <p:sldId id="256" r:id="rId12"/>
    <p:sldId id="258" r:id="rId13"/>
    <p:sldId id="286" r:id="rId14"/>
    <p:sldId id="287" r:id="rId15"/>
    <p:sldId id="288" r:id="rId16"/>
    <p:sldId id="289" r:id="rId17"/>
    <p:sldId id="290" r:id="rId18"/>
    <p:sldId id="302" r:id="rId19"/>
    <p:sldId id="308" r:id="rId20"/>
    <p:sldId id="309" r:id="rId21"/>
    <p:sldId id="310" r:id="rId22"/>
    <p:sldId id="369" r:id="rId23"/>
    <p:sldId id="381" r:id="rId24"/>
    <p:sldId id="373" r:id="rId25"/>
    <p:sldId id="374" r:id="rId26"/>
    <p:sldId id="375" r:id="rId27"/>
    <p:sldId id="376" r:id="rId28"/>
    <p:sldId id="377" r:id="rId29"/>
    <p:sldId id="378" r:id="rId30"/>
    <p:sldId id="307" r:id="rId31"/>
    <p:sldId id="312" r:id="rId32"/>
    <p:sldId id="313" r:id="rId33"/>
    <p:sldId id="314" r:id="rId34"/>
    <p:sldId id="315" r:id="rId35"/>
    <p:sldId id="316" r:id="rId36"/>
    <p:sldId id="311" r:id="rId37"/>
    <p:sldId id="318" r:id="rId38"/>
    <p:sldId id="370" r:id="rId39"/>
    <p:sldId id="366" r:id="rId40"/>
    <p:sldId id="320" r:id="rId41"/>
    <p:sldId id="327" r:id="rId42"/>
    <p:sldId id="328" r:id="rId43"/>
    <p:sldId id="329" r:id="rId44"/>
    <p:sldId id="331" r:id="rId45"/>
    <p:sldId id="383" r:id="rId46"/>
    <p:sldId id="379" r:id="rId47"/>
    <p:sldId id="380" r:id="rId48"/>
    <p:sldId id="282" r:id="rId49"/>
    <p:sldId id="283" r:id="rId50"/>
    <p:sldId id="367" r:id="rId51"/>
  </p:sldIdLst>
  <p:sldSz cx="12192000" cy="6858000"/>
  <p:notesSz cx="6669088" cy="9872663"/>
  <p:custDataLst>
    <p:tags r:id="rId5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1">
          <p15:clr>
            <a:srgbClr val="A4A3A4"/>
          </p15:clr>
        </p15:guide>
        <p15:guide id="2" orient="horz" pos="2959">
          <p15:clr>
            <a:srgbClr val="A4A3A4"/>
          </p15:clr>
        </p15:guide>
        <p15:guide id="3" orient="horz" pos="4090">
          <p15:clr>
            <a:srgbClr val="A4A3A4"/>
          </p15:clr>
        </p15:guide>
        <p15:guide id="4" orient="horz" pos="779">
          <p15:clr>
            <a:srgbClr val="A4A3A4"/>
          </p15:clr>
        </p15:guide>
        <p15:guide id="5" orient="horz" pos="378">
          <p15:clr>
            <a:srgbClr val="A4A3A4"/>
          </p15:clr>
        </p15:guide>
        <p15:guide id="6" orient="horz" pos="1460">
          <p15:clr>
            <a:srgbClr val="A4A3A4"/>
          </p15:clr>
        </p15:guide>
        <p15:guide id="7" orient="horz" pos="3670">
          <p15:clr>
            <a:srgbClr val="A4A3A4"/>
          </p15:clr>
        </p15:guide>
        <p15:guide id="8" orient="horz" pos="3674">
          <p15:clr>
            <a:srgbClr val="A4A3A4"/>
          </p15:clr>
        </p15:guide>
        <p15:guide id="9" orient="horz" pos="1158">
          <p15:clr>
            <a:srgbClr val="A4A3A4"/>
          </p15:clr>
        </p15:guide>
        <p15:guide id="10" orient="horz" pos="3072">
          <p15:clr>
            <a:srgbClr val="A4A3A4"/>
          </p15:clr>
        </p15:guide>
        <p15:guide id="11" orient="horz" pos="3296">
          <p15:clr>
            <a:srgbClr val="A4A3A4"/>
          </p15:clr>
        </p15:guide>
        <p15:guide id="12" pos="7254">
          <p15:clr>
            <a:srgbClr val="A4A3A4"/>
          </p15:clr>
        </p15:guide>
        <p15:guide id="13" pos="460">
          <p15:clr>
            <a:srgbClr val="A4A3A4"/>
          </p15:clr>
        </p15:guide>
        <p15:guide id="14" pos="6410">
          <p15:clr>
            <a:srgbClr val="A4A3A4"/>
          </p15:clr>
        </p15:guide>
        <p15:guide id="15" pos="392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nedikt Fischer" initials="BF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8F1"/>
    <a:srgbClr val="767676"/>
    <a:srgbClr val="E6A900"/>
    <a:srgbClr val="006D2A"/>
    <a:srgbClr val="AD0000"/>
    <a:srgbClr val="003E77"/>
    <a:srgbClr val="4F81BD"/>
    <a:srgbClr val="E7E6E6"/>
    <a:srgbClr val="00899C"/>
    <a:srgbClr val="0096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471" autoAdjust="0"/>
    <p:restoredTop sz="95142" autoAdjust="0"/>
  </p:normalViewPr>
  <p:slideViewPr>
    <p:cSldViewPr snapToGrid="0">
      <p:cViewPr varScale="1">
        <p:scale>
          <a:sx n="99" d="100"/>
          <a:sy n="99" d="100"/>
        </p:scale>
        <p:origin x="106" y="72"/>
      </p:cViewPr>
      <p:guideLst>
        <p:guide orient="horz" pos="201"/>
        <p:guide orient="horz" pos="2959"/>
        <p:guide orient="horz" pos="4090"/>
        <p:guide orient="horz" pos="779"/>
        <p:guide orient="horz" pos="378"/>
        <p:guide orient="horz" pos="1460"/>
        <p:guide orient="horz" pos="3670"/>
        <p:guide orient="horz" pos="3674"/>
        <p:guide orient="horz" pos="1158"/>
        <p:guide orient="horz" pos="3072"/>
        <p:guide orient="horz" pos="3296"/>
        <p:guide pos="7254"/>
        <p:guide pos="460"/>
        <p:guide pos="6410"/>
        <p:guide pos="3923"/>
      </p:guideLst>
    </p:cSldViewPr>
  </p:slideViewPr>
  <p:outlineViewPr>
    <p:cViewPr>
      <p:scale>
        <a:sx n="33" d="100"/>
        <a:sy n="33" d="100"/>
      </p:scale>
      <p:origin x="0" y="-1470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912"/>
    </p:cViewPr>
  </p:sorterViewPr>
  <p:notesViewPr>
    <p:cSldViewPr snapToGrid="0">
      <p:cViewPr varScale="1">
        <p:scale>
          <a:sx n="82" d="100"/>
          <a:sy n="82" d="100"/>
        </p:scale>
        <p:origin x="-3180" y="-96"/>
      </p:cViewPr>
      <p:guideLst>
        <p:guide orient="horz" pos="3110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slide" Target="slides/slide30.xml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handoutMaster" Target="handoutMasters/handoutMaster1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609525887380149E-2"/>
          <c:y val="3.6875458221122086E-2"/>
          <c:w val="0.82570217503255572"/>
          <c:h val="0.89942208405602964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4"/>
              <c:layout>
                <c:manualLayout>
                  <c:x val="-1.956786998136258E-2"/>
                  <c:y val="-5.75630984095644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2C7-4159-AAAB-3D01B0AAB8F6}"/>
                </c:ext>
              </c:extLst>
            </c:dLbl>
            <c:dLbl>
              <c:idx val="5"/>
              <c:layout>
                <c:manualLayout>
                  <c:x val="-2.2569949260152513E-2"/>
                  <c:y val="-6.26766646583576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2C7-4159-AAAB-3D01B0AAB8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0011</c:v>
                </c:pt>
                <c:pt idx="1">
                  <c:v>10028</c:v>
                </c:pt>
                <c:pt idx="2">
                  <c:v>9755</c:v>
                </c:pt>
                <c:pt idx="3">
                  <c:v>9092</c:v>
                </c:pt>
                <c:pt idx="4">
                  <c:v>4040</c:v>
                </c:pt>
                <c:pt idx="5">
                  <c:v>3534</c:v>
                </c:pt>
                <c:pt idx="6">
                  <c:v>3223</c:v>
                </c:pt>
                <c:pt idx="7">
                  <c:v>30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2C7-4159-AAAB-3D01B0AAB8F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.10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4.2622578972706736E-2"/>
                  <c:y val="-3.48347689142884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2C7-4159-AAAB-3D01B0AAB8F6}"/>
                </c:ext>
              </c:extLst>
            </c:dLbl>
            <c:dLbl>
              <c:idx val="1"/>
              <c:layout>
                <c:manualLayout>
                  <c:x val="-3.7723431964349644E-2"/>
                  <c:y val="-3.483476891428837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2C7-4159-AAAB-3D01B0AAB8F6}"/>
                </c:ext>
              </c:extLst>
            </c:dLbl>
            <c:dLbl>
              <c:idx val="2"/>
              <c:layout>
                <c:manualLayout>
                  <c:x val="-5.7320019997778027E-2"/>
                  <c:y val="-2.95547578719975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2C7-4159-AAAB-3D01B0AAB8F6}"/>
                </c:ext>
              </c:extLst>
            </c:dLbl>
            <c:dLbl>
              <c:idx val="3"/>
              <c:layout>
                <c:manualLayout>
                  <c:x val="-0.10631149008134899"/>
                  <c:y val="-3.3941740275009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2C7-4159-AAAB-3D01B0AAB8F6}"/>
                </c:ext>
              </c:extLst>
            </c:dLbl>
            <c:dLbl>
              <c:idx val="4"/>
              <c:layout>
                <c:manualLayout>
                  <c:x val="-8.3704063446817453E-2"/>
                  <c:y val="-5.514357318590810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9918301003705315E-2"/>
                      <c:h val="6.964815876772090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62C7-4159-AAAB-3D01B0AAB8F6}"/>
                </c:ext>
              </c:extLst>
            </c:dLbl>
            <c:dLbl>
              <c:idx val="5"/>
              <c:layout>
                <c:manualLayout>
                  <c:x val="4.3659648152691299E-3"/>
                  <c:y val="-1.13973080386073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2C7-4159-AAAB-3D01B0AAB8F6}"/>
                </c:ext>
              </c:extLst>
            </c:dLbl>
            <c:dLbl>
              <c:idx val="6"/>
              <c:layout>
                <c:manualLayout>
                  <c:x val="5.414941779980427E-3"/>
                  <c:y val="-4.9962026799676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2C7-4159-AAAB-3D01B0AAB8F6}"/>
                </c:ext>
              </c:extLst>
            </c:dLbl>
            <c:dLbl>
              <c:idx val="7"/>
              <c:layout>
                <c:manualLayout>
                  <c:x val="-2.5611299049072855E-3"/>
                  <c:y val="-2.213418515693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2C7-4159-AAAB-3D01B0AAB8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</c:strCache>
            </c:strRef>
          </c:cat>
          <c:val>
            <c:numRef>
              <c:f>Лист1!$C$2:$C$9</c:f>
              <c:numCache>
                <c:formatCode>General</c:formatCode>
                <c:ptCount val="8"/>
                <c:pt idx="0">
                  <c:v>2582</c:v>
                </c:pt>
                <c:pt idx="1">
                  <c:v>2634</c:v>
                </c:pt>
                <c:pt idx="2">
                  <c:v>3091</c:v>
                </c:pt>
                <c:pt idx="3">
                  <c:v>3059</c:v>
                </c:pt>
                <c:pt idx="4">
                  <c:v>1340</c:v>
                </c:pt>
                <c:pt idx="5">
                  <c:v>847</c:v>
                </c:pt>
                <c:pt idx="6">
                  <c:v>685</c:v>
                </c:pt>
                <c:pt idx="7">
                  <c:v>63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62C7-4159-AAAB-3D01B0AAB8F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.11+ст.11.1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1.5611417240809524E-2"/>
                  <c:y val="1.83898200506672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2C7-4159-AAAB-3D01B0AAB8F6}"/>
                </c:ext>
              </c:extLst>
            </c:dLbl>
            <c:dLbl>
              <c:idx val="1"/>
              <c:layout>
                <c:manualLayout>
                  <c:x val="-3.0114755468268785E-2"/>
                  <c:y val="1.87999506391504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2C7-4159-AAAB-3D01B0AAB8F6}"/>
                </c:ext>
              </c:extLst>
            </c:dLbl>
            <c:dLbl>
              <c:idx val="2"/>
              <c:layout>
                <c:manualLayout>
                  <c:x val="-3.2321649568735872E-2"/>
                  <c:y val="2.299925232830772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2C7-4159-AAAB-3D01B0AAB8F6}"/>
                </c:ext>
              </c:extLst>
            </c:dLbl>
            <c:dLbl>
              <c:idx val="3"/>
              <c:layout>
                <c:manualLayout>
                  <c:x val="-3.4771296348462773E-2"/>
                  <c:y val="2.719855401746502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2C7-4159-AAAB-3D01B0AAB8F6}"/>
                </c:ext>
              </c:extLst>
            </c:dLbl>
            <c:dLbl>
              <c:idx val="4"/>
              <c:layout>
                <c:manualLayout>
                  <c:x val="2.020859336922191E-3"/>
                  <c:y val="2.51475381276268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62C7-4159-AAAB-3D01B0AAB8F6}"/>
                </c:ext>
              </c:extLst>
            </c:dLbl>
            <c:dLbl>
              <c:idx val="5"/>
              <c:layout>
                <c:manualLayout>
                  <c:x val="-3.2370237916531645E-2"/>
                  <c:y val="2.96974470278235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62C7-4159-AAAB-3D01B0AAB8F6}"/>
                </c:ext>
              </c:extLst>
            </c:dLbl>
            <c:dLbl>
              <c:idx val="6"/>
              <c:layout>
                <c:manualLayout>
                  <c:x val="5.414941779980427E-3"/>
                  <c:y val="1.25020794847796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62C7-4159-AAAB-3D01B0AAB8F6}"/>
                </c:ext>
              </c:extLst>
            </c:dLbl>
            <c:dLbl>
              <c:idx val="7"/>
              <c:layout>
                <c:manualLayout>
                  <c:x val="-6.093658934229502E-3"/>
                  <c:y val="-7.5675427680061474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62C7-4159-AAAB-3D01B0AAB8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6F933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</c:strCache>
            </c:strRef>
          </c:cat>
          <c:val>
            <c:numRef>
              <c:f>Лист1!$D$2:$D$9</c:f>
              <c:numCache>
                <c:formatCode>General</c:formatCode>
                <c:ptCount val="8"/>
                <c:pt idx="0">
                  <c:v>294</c:v>
                </c:pt>
                <c:pt idx="1">
                  <c:v>272</c:v>
                </c:pt>
                <c:pt idx="2">
                  <c:v>319</c:v>
                </c:pt>
                <c:pt idx="3">
                  <c:v>375</c:v>
                </c:pt>
                <c:pt idx="4">
                  <c:v>360</c:v>
                </c:pt>
                <c:pt idx="5">
                  <c:v>420</c:v>
                </c:pt>
                <c:pt idx="6">
                  <c:v>437</c:v>
                </c:pt>
                <c:pt idx="7">
                  <c:v>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4-62C7-4159-AAAB-3D01B0AAB8F6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т.14.1-ст.14.8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4.1778416715601632E-2"/>
                  <c:y val="-5.34578001030770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62C7-4159-AAAB-3D01B0AAB8F6}"/>
                </c:ext>
              </c:extLst>
            </c:dLbl>
            <c:dLbl>
              <c:idx val="1"/>
              <c:layout>
                <c:manualLayout>
                  <c:x val="-4.1778416715601625E-2"/>
                  <c:y val="-5.34578001030771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62C7-4159-AAAB-3D01B0AAB8F6}"/>
                </c:ext>
              </c:extLst>
            </c:dLbl>
            <c:dLbl>
              <c:idx val="2"/>
              <c:layout>
                <c:manualLayout>
                  <c:x val="-4.1778416715601667E-2"/>
                  <c:y val="-4.884836782543688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62C7-4159-AAAB-3D01B0AAB8F6}"/>
                </c:ext>
              </c:extLst>
            </c:dLbl>
            <c:dLbl>
              <c:idx val="3"/>
              <c:layout>
                <c:manualLayout>
                  <c:x val="-4.4179475147532843E-2"/>
                  <c:y val="-5.345780010307715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62C7-4159-AAAB-3D01B0AAB8F6}"/>
                </c:ext>
              </c:extLst>
            </c:dLbl>
            <c:dLbl>
              <c:idx val="4"/>
              <c:layout>
                <c:manualLayout>
                  <c:x val="-3.1927131851274139E-2"/>
                  <c:y val="-2.80978536823878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62C7-4159-AAAB-3D01B0AAB8F6}"/>
                </c:ext>
              </c:extLst>
            </c:dLbl>
            <c:dLbl>
              <c:idx val="5"/>
              <c:layout>
                <c:manualLayout>
                  <c:x val="-4.9519164882162341E-2"/>
                  <c:y val="-1.762086688838193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rgbClr val="7030A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7090472105284447E-2"/>
                      <c:h val="2.64371590549085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A-62C7-4159-AAAB-3D01B0AAB8F6}"/>
                </c:ext>
              </c:extLst>
            </c:dLbl>
            <c:dLbl>
              <c:idx val="6"/>
              <c:layout>
                <c:manualLayout>
                  <c:x val="5.414941779980427E-3"/>
                  <c:y val="-2.4241512447253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62C7-4159-AAAB-3D01B0AAB8F6}"/>
                </c:ext>
              </c:extLst>
            </c:dLbl>
            <c:dLbl>
              <c:idx val="7"/>
              <c:layout>
                <c:manualLayout>
                  <c:x val="-1.0803697639992456E-2"/>
                  <c:y val="1.28257565764949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62C7-4159-AAAB-3D01B0AAB8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030A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</c:strCache>
            </c:strRef>
          </c:cat>
          <c:val>
            <c:numRef>
              <c:f>Лист1!$E$2:$E$9</c:f>
              <c:numCache>
                <c:formatCode>General</c:formatCode>
                <c:ptCount val="8"/>
                <c:pt idx="0">
                  <c:v>1132</c:v>
                </c:pt>
                <c:pt idx="1">
                  <c:v>1175</c:v>
                </c:pt>
                <c:pt idx="2">
                  <c:v>1136</c:v>
                </c:pt>
                <c:pt idx="3">
                  <c:v>1113</c:v>
                </c:pt>
                <c:pt idx="4">
                  <c:v>453</c:v>
                </c:pt>
                <c:pt idx="5">
                  <c:v>409</c:v>
                </c:pt>
                <c:pt idx="6">
                  <c:v>517</c:v>
                </c:pt>
                <c:pt idx="7">
                  <c:v>4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D-62C7-4159-AAAB-3D01B0AAB8F6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органы власти</c:v>
                </c:pt>
              </c:strCache>
            </c:strRef>
          </c:tx>
          <c:spPr>
            <a:ln w="28575" cap="rnd">
              <a:solidFill>
                <a:schemeClr val="accent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layout>
                <c:manualLayout>
                  <c:x val="-2.3025990939278443E-2"/>
                  <c:y val="-8.45803721617861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62C7-4159-AAAB-3D01B0AAB8F6}"/>
                </c:ext>
              </c:extLst>
            </c:dLbl>
            <c:dLbl>
              <c:idx val="4"/>
              <c:layout>
                <c:manualLayout>
                  <c:x val="-6.8978438495281257E-3"/>
                  <c:y val="-9.32259492889859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62C7-4159-AAAB-3D01B0AAB8F6}"/>
                </c:ext>
              </c:extLst>
            </c:dLbl>
            <c:dLbl>
              <c:idx val="5"/>
              <c:layout>
                <c:manualLayout>
                  <c:x val="-8.6681990587095595E-3"/>
                  <c:y val="-8.16842212237136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62C7-4159-AAAB-3D01B0AAB8F6}"/>
                </c:ext>
              </c:extLst>
            </c:dLbl>
            <c:dLbl>
              <c:idx val="6"/>
              <c:layout>
                <c:manualLayout>
                  <c:x val="-2.760221179928159E-2"/>
                  <c:y val="-6.098510437928644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62C7-4159-AAAB-3D01B0AAB8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00808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</c:strCache>
            </c:strRef>
          </c:cat>
          <c:val>
            <c:numRef>
              <c:f>Лист1!$F$2:$F$9</c:f>
              <c:numCache>
                <c:formatCode>General</c:formatCode>
                <c:ptCount val="8"/>
                <c:pt idx="0">
                  <c:v>5386</c:v>
                </c:pt>
                <c:pt idx="1">
                  <c:v>5210</c:v>
                </c:pt>
                <c:pt idx="2">
                  <c:v>4477</c:v>
                </c:pt>
                <c:pt idx="3">
                  <c:v>3955</c:v>
                </c:pt>
                <c:pt idx="4">
                  <c:v>1284</c:v>
                </c:pt>
                <c:pt idx="5">
                  <c:v>1260</c:v>
                </c:pt>
                <c:pt idx="6">
                  <c:v>1092</c:v>
                </c:pt>
                <c:pt idx="7">
                  <c:v>10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2-62C7-4159-AAAB-3D01B0AAB8F6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8589952"/>
        <c:axId val="58591488"/>
      </c:lineChart>
      <c:catAx>
        <c:axId val="585899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591488"/>
        <c:crosses val="autoZero"/>
        <c:auto val="1"/>
        <c:lblAlgn val="ctr"/>
        <c:lblOffset val="100"/>
        <c:noMultiLvlLbl val="0"/>
      </c:catAx>
      <c:valAx>
        <c:axId val="58591488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58589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3619095514399089"/>
          <c:y val="0.26723093636848905"/>
          <c:w val="0.15995533054131605"/>
          <c:h val="0.4901217809588103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0">
      <a:solidFill>
        <a:schemeClr val="bg1"/>
      </a:solidFill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546737626298333"/>
          <c:y val="0"/>
          <c:w val="0.37160737009728362"/>
          <c:h val="1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артели на торгах</c:v>
                </c:pt>
              </c:strCache>
            </c:strRef>
          </c:tx>
          <c:dPt>
            <c:idx val="0"/>
            <c:bubble3D val="0"/>
            <c:spPr>
              <a:solidFill>
                <a:srgbClr val="003E77"/>
              </a:solidFill>
            </c:spPr>
            <c:extLst>
              <c:ext xmlns:c16="http://schemas.microsoft.com/office/drawing/2014/chart" uri="{C3380CC4-5D6E-409C-BE32-E72D297353CC}">
                <c16:uniqueId val="{00000001-0421-4657-9B6B-295208FFEA90}"/>
              </c:ext>
            </c:extLst>
          </c:dPt>
          <c:dPt>
            <c:idx val="1"/>
            <c:bubble3D val="0"/>
            <c:explosion val="1"/>
            <c:spPr>
              <a:solidFill>
                <a:srgbClr val="003E77">
                  <a:alpha val="95000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3-0421-4657-9B6B-295208FFEA90}"/>
              </c:ext>
            </c:extLst>
          </c:dPt>
          <c:dPt>
            <c:idx val="2"/>
            <c:bubble3D val="0"/>
            <c:spPr>
              <a:solidFill>
                <a:srgbClr val="003E77">
                  <a:alpha val="90000"/>
                </a:srgbClr>
              </a:solidFill>
            </c:spPr>
            <c:extLst>
              <c:ext xmlns:c16="http://schemas.microsoft.com/office/drawing/2014/chart" uri="{C3380CC4-5D6E-409C-BE32-E72D297353CC}">
                <c16:uniqueId val="{00000005-0421-4657-9B6B-295208FFEA90}"/>
              </c:ext>
            </c:extLst>
          </c:dPt>
          <c:dPt>
            <c:idx val="3"/>
            <c:bubble3D val="0"/>
            <c:spPr>
              <a:solidFill>
                <a:srgbClr val="003E77">
                  <a:alpha val="85000"/>
                </a:srgbClr>
              </a:solidFill>
            </c:spPr>
            <c:extLst>
              <c:ext xmlns:c16="http://schemas.microsoft.com/office/drawing/2014/chart" uri="{C3380CC4-5D6E-409C-BE32-E72D297353CC}">
                <c16:uniqueId val="{00000007-0421-4657-9B6B-295208FFEA90}"/>
              </c:ext>
            </c:extLst>
          </c:dPt>
          <c:dPt>
            <c:idx val="4"/>
            <c:bubble3D val="0"/>
            <c:spPr>
              <a:solidFill>
                <a:srgbClr val="003E77">
                  <a:alpha val="80000"/>
                </a:srgbClr>
              </a:solidFill>
            </c:spPr>
            <c:extLst>
              <c:ext xmlns:c16="http://schemas.microsoft.com/office/drawing/2014/chart" uri="{C3380CC4-5D6E-409C-BE32-E72D297353CC}">
                <c16:uniqueId val="{00000009-0421-4657-9B6B-295208FFEA90}"/>
              </c:ext>
            </c:extLst>
          </c:dPt>
          <c:dPt>
            <c:idx val="5"/>
            <c:bubble3D val="0"/>
            <c:spPr>
              <a:solidFill>
                <a:srgbClr val="003E77">
                  <a:alpha val="75000"/>
                </a:srgbClr>
              </a:solidFill>
            </c:spPr>
            <c:extLst>
              <c:ext xmlns:c16="http://schemas.microsoft.com/office/drawing/2014/chart" uri="{C3380CC4-5D6E-409C-BE32-E72D297353CC}">
                <c16:uniqueId val="{0000000B-0421-4657-9B6B-295208FFEA90}"/>
              </c:ext>
            </c:extLst>
          </c:dPt>
          <c:dPt>
            <c:idx val="6"/>
            <c:bubble3D val="0"/>
            <c:spPr>
              <a:solidFill>
                <a:srgbClr val="003E77">
                  <a:alpha val="70000"/>
                </a:srgbClr>
              </a:solidFill>
            </c:spPr>
            <c:extLst>
              <c:ext xmlns:c16="http://schemas.microsoft.com/office/drawing/2014/chart" uri="{C3380CC4-5D6E-409C-BE32-E72D297353CC}">
                <c16:uniqueId val="{0000000D-0421-4657-9B6B-295208FFEA90}"/>
              </c:ext>
            </c:extLst>
          </c:dPt>
          <c:dPt>
            <c:idx val="7"/>
            <c:bubble3D val="0"/>
            <c:spPr>
              <a:solidFill>
                <a:srgbClr val="003E77">
                  <a:alpha val="65000"/>
                </a:srgbClr>
              </a:solidFill>
            </c:spPr>
            <c:extLst>
              <c:ext xmlns:c16="http://schemas.microsoft.com/office/drawing/2014/chart" uri="{C3380CC4-5D6E-409C-BE32-E72D297353CC}">
                <c16:uniqueId val="{0000000F-0421-4657-9B6B-295208FFEA90}"/>
              </c:ext>
            </c:extLst>
          </c:dPt>
          <c:dPt>
            <c:idx val="8"/>
            <c:bubble3D val="0"/>
            <c:spPr>
              <a:solidFill>
                <a:srgbClr val="003E77">
                  <a:alpha val="60000"/>
                </a:srgbClr>
              </a:solidFill>
            </c:spPr>
            <c:extLst>
              <c:ext xmlns:c16="http://schemas.microsoft.com/office/drawing/2014/chart" uri="{C3380CC4-5D6E-409C-BE32-E72D297353CC}">
                <c16:uniqueId val="{00000011-0421-4657-9B6B-295208FFEA9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aseline="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9</c:f>
              <c:strCache>
                <c:ptCount val="8"/>
                <c:pt idx="0">
                  <c:v>Строительный комплекс (в т.ч. Строительство, ремонт и обслуживание дорог)</c:v>
                </c:pt>
                <c:pt idx="1">
                  <c:v>Лекарственные препараты и медицинские изделия</c:v>
                </c:pt>
                <c:pt idx="2">
                  <c:v>Продукты питания</c:v>
                </c:pt>
                <c:pt idx="3">
                  <c:v>Транспорт и пассажирские перевозки</c:v>
                </c:pt>
                <c:pt idx="4">
                  <c:v>Сделки с недвижимостью</c:v>
                </c:pt>
                <c:pt idx="5">
                  <c:v>Горюче-смазочные материалы</c:v>
                </c:pt>
                <c:pt idx="6">
                  <c:v>Капитальный ремонт</c:v>
                </c:pt>
                <c:pt idx="7">
                  <c:v>Прочее</c:v>
                </c:pt>
              </c:strCache>
            </c:strRef>
          </c:cat>
          <c:val>
            <c:numRef>
              <c:f>Лист1!$B$2:$B$9</c:f>
              <c:numCache>
                <c:formatCode>0%</c:formatCode>
                <c:ptCount val="8"/>
                <c:pt idx="0">
                  <c:v>0.37</c:v>
                </c:pt>
                <c:pt idx="1">
                  <c:v>0.11</c:v>
                </c:pt>
                <c:pt idx="2">
                  <c:v>0.1</c:v>
                </c:pt>
                <c:pt idx="3">
                  <c:v>0.08</c:v>
                </c:pt>
                <c:pt idx="4">
                  <c:v>0.06</c:v>
                </c:pt>
                <c:pt idx="5">
                  <c:v>0.05</c:v>
                </c:pt>
                <c:pt idx="6">
                  <c:v>0.04</c:v>
                </c:pt>
                <c:pt idx="7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0421-4657-9B6B-295208FFEA9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tr"/>
      <c:layout>
        <c:manualLayout>
          <c:xMode val="edge"/>
          <c:yMode val="edge"/>
          <c:x val="0.56763367125246667"/>
          <c:y val="0.14323449803149607"/>
          <c:w val="0.42230884634241023"/>
          <c:h val="0.8192655019685039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умма наложенных штрафов</c:v>
                </c:pt>
              </c:strCache>
            </c:strRef>
          </c:tx>
          <c:spPr>
            <a:solidFill>
              <a:srgbClr val="003E77"/>
            </a:solidFill>
          </c:spPr>
          <c:invertIfNegative val="0"/>
          <c:cat>
            <c:numRef>
              <c:f>Лист1!$A$2:$A$4</c:f>
              <c:numCache>
                <c:formatCode>General</c:formatCode>
                <c:ptCount val="3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</c:numCache>
            </c:numRef>
          </c:cat>
          <c:val>
            <c:numRef>
              <c:f>Лист1!$B$2:$B$4</c:f>
              <c:numCache>
                <c:formatCode>#,##0.00\ "₽"</c:formatCode>
                <c:ptCount val="3"/>
                <c:pt idx="0">
                  <c:v>2043704380</c:v>
                </c:pt>
                <c:pt idx="1">
                  <c:v>2605350489</c:v>
                </c:pt>
                <c:pt idx="2">
                  <c:v>44088720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B5-4CBB-970B-4A825350E8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58795136"/>
        <c:axId val="58796672"/>
        <c:axId val="0"/>
      </c:bar3DChart>
      <c:catAx>
        <c:axId val="58795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58796672"/>
        <c:crosses val="autoZero"/>
        <c:auto val="1"/>
        <c:lblAlgn val="ctr"/>
        <c:lblOffset val="100"/>
        <c:noMultiLvlLbl val="0"/>
      </c:catAx>
      <c:valAx>
        <c:axId val="58796672"/>
        <c:scaling>
          <c:orientation val="minMax"/>
        </c:scaling>
        <c:delete val="0"/>
        <c:axPos val="l"/>
        <c:majorGridlines/>
        <c:numFmt formatCode="#,##0.00\ &quot;₽&quot;" sourceLinked="1"/>
        <c:majorTickMark val="out"/>
        <c:minorTickMark val="none"/>
        <c:tickLblPos val="nextTo"/>
        <c:crossAx val="58795136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едупреждения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928</c:v>
                </c:pt>
                <c:pt idx="1">
                  <c:v>2362</c:v>
                </c:pt>
                <c:pt idx="2">
                  <c:v>5486</c:v>
                </c:pt>
                <c:pt idx="3">
                  <c:v>4477</c:v>
                </c:pt>
                <c:pt idx="4">
                  <c:v>4166</c:v>
                </c:pt>
                <c:pt idx="5">
                  <c:v>3110</c:v>
                </c:pt>
                <c:pt idx="6">
                  <c:v>24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67-40EB-BF52-ED035FA810B0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едостережения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333399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Лист1!$C$2:$C$8</c:f>
              <c:numCache>
                <c:formatCode>General</c:formatCode>
                <c:ptCount val="7"/>
                <c:pt idx="0">
                  <c:v>91</c:v>
                </c:pt>
                <c:pt idx="1">
                  <c:v>49</c:v>
                </c:pt>
                <c:pt idx="2">
                  <c:v>90</c:v>
                </c:pt>
                <c:pt idx="3">
                  <c:v>95</c:v>
                </c:pt>
                <c:pt idx="4">
                  <c:v>123</c:v>
                </c:pt>
                <c:pt idx="5">
                  <c:v>103</c:v>
                </c:pt>
                <c:pt idx="6">
                  <c:v>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B67-40EB-BF52-ED035FA810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9665024"/>
        <c:axId val="59675008"/>
      </c:barChart>
      <c:catAx>
        <c:axId val="59665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675008"/>
        <c:crosses val="autoZero"/>
        <c:auto val="1"/>
        <c:lblAlgn val="ctr"/>
        <c:lblOffset val="100"/>
        <c:noMultiLvlLbl val="0"/>
      </c:catAx>
      <c:valAx>
        <c:axId val="596750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9665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5.939801283246518E-3"/>
          <c:y val="0.69724259268326871"/>
          <c:w val="0.16205071873154531"/>
          <c:h val="0.25292700775460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8080"/>
            </a:solidFill>
            <a:ln>
              <a:solidFill>
                <a:srgbClr val="008080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8080"/>
              </a:solidFill>
              <a:ln>
                <a:solidFill>
                  <a:srgbClr val="00808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800-45AF-8071-ED3C64762C7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808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</c:numCache>
            </c:numRef>
          </c:cat>
          <c:val>
            <c:numRef>
              <c:f>Лист1!$B$2:$B$8</c:f>
              <c:numCache>
                <c:formatCode>0%</c:formatCode>
                <c:ptCount val="7"/>
                <c:pt idx="0">
                  <c:v>0.75</c:v>
                </c:pt>
                <c:pt idx="1">
                  <c:v>0.83</c:v>
                </c:pt>
                <c:pt idx="2">
                  <c:v>0.77</c:v>
                </c:pt>
                <c:pt idx="3">
                  <c:v>0.76</c:v>
                </c:pt>
                <c:pt idx="4">
                  <c:v>0.8</c:v>
                </c:pt>
                <c:pt idx="5">
                  <c:v>0.81</c:v>
                </c:pt>
                <c:pt idx="6">
                  <c:v>0.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800-45AF-8071-ED3C64762C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9581184"/>
        <c:axId val="59582720"/>
      </c:barChart>
      <c:catAx>
        <c:axId val="59581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582720"/>
        <c:crosses val="autoZero"/>
        <c:auto val="1"/>
        <c:lblAlgn val="ctr"/>
        <c:lblOffset val="100"/>
        <c:noMultiLvlLbl val="0"/>
      </c:catAx>
      <c:valAx>
        <c:axId val="5958272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95811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0.6184337030222228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 обжалованных решений в числе принятых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70C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Лист1!$B$2:$B$7</c:f>
              <c:numCache>
                <c:formatCode>0.0%</c:formatCode>
                <c:ptCount val="6"/>
                <c:pt idx="0">
                  <c:v>0.36599999999999999</c:v>
                </c:pt>
                <c:pt idx="1">
                  <c:v>0.33200000000000002</c:v>
                </c:pt>
                <c:pt idx="2">
                  <c:v>0.69799999999999995</c:v>
                </c:pt>
                <c:pt idx="3">
                  <c:v>0.54</c:v>
                </c:pt>
                <c:pt idx="4">
                  <c:v>0.48799999999999999</c:v>
                </c:pt>
                <c:pt idx="5">
                  <c:v>0.48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F38-4D99-9131-370EBF1BFE33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ля отмененных решений в числе обжалованных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0288208717549895E-2"/>
                  <c:y val="6.100503147403231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F38-4D99-9131-370EBF1BFE33}"/>
                </c:ext>
              </c:extLst>
            </c:dLbl>
            <c:dLbl>
              <c:idx val="1"/>
              <c:layout>
                <c:manualLayout>
                  <c:x val="7.3487205125356177E-3"/>
                  <c:y val="3.050251573701531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F38-4D99-9131-370EBF1BFE33}"/>
                </c:ext>
              </c:extLst>
            </c:dLbl>
            <c:dLbl>
              <c:idx val="2"/>
              <c:layout>
                <c:manualLayout>
                  <c:x val="8.8184646150427197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F38-4D99-9131-370EBF1BFE33}"/>
                </c:ext>
              </c:extLst>
            </c:dLbl>
            <c:dLbl>
              <c:idx val="3"/>
              <c:layout>
                <c:manualLayout>
                  <c:x val="8.8184646150426659E-3"/>
                  <c:y val="-3.050251573701643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F38-4D99-9131-370EBF1BFE33}"/>
                </c:ext>
              </c:extLst>
            </c:dLbl>
            <c:dLbl>
              <c:idx val="4"/>
              <c:layout>
                <c:manualLayout>
                  <c:x val="8.8184646150427735E-3"/>
                  <c:y val="-9.150754721104931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F38-4D99-9131-370EBF1BFE33}"/>
                </c:ext>
              </c:extLst>
            </c:dLbl>
            <c:dLbl>
              <c:idx val="5"/>
              <c:layout>
                <c:manualLayout>
                  <c:x val="1.1757952820057031E-2"/>
                  <c:y val="-1.251401359444916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F38-4D99-9131-370EBF1BFE3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C00000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3</c:v>
                </c:pt>
                <c:pt idx="1">
                  <c:v>2014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Лист1!$C$2:$C$7</c:f>
              <c:numCache>
                <c:formatCode>0.0%</c:formatCode>
                <c:ptCount val="6"/>
                <c:pt idx="0">
                  <c:v>0.191</c:v>
                </c:pt>
                <c:pt idx="1">
                  <c:v>0.16</c:v>
                </c:pt>
                <c:pt idx="2">
                  <c:v>0.154</c:v>
                </c:pt>
                <c:pt idx="3">
                  <c:v>0.155</c:v>
                </c:pt>
                <c:pt idx="4">
                  <c:v>0.11</c:v>
                </c:pt>
                <c:pt idx="5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F38-4D99-9131-370EBF1BFE3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28080000"/>
        <c:axId val="328114560"/>
      </c:barChart>
      <c:catAx>
        <c:axId val="3280800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28114560"/>
        <c:crosses val="autoZero"/>
        <c:auto val="1"/>
        <c:lblAlgn val="ctr"/>
        <c:lblOffset val="100"/>
        <c:noMultiLvlLbl val="0"/>
      </c:catAx>
      <c:valAx>
        <c:axId val="32811456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out"/>
        <c:minorTickMark val="none"/>
        <c:tickLblPos val="nextTo"/>
        <c:crossAx val="328080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9884210396375712"/>
          <c:y val="0.69315050852935534"/>
          <c:w val="0.6336703329259713"/>
          <c:h val="0.25233534657765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8.4823895099659499E-2"/>
          <c:y val="4.7046998031496062E-2"/>
          <c:w val="0.90488578388990748"/>
          <c:h val="0.72685882463439977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003E77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003E77">
                  <a:alpha val="70000"/>
                </a:srgbClr>
              </a:solidFill>
            </c:spPr>
            <c:extLst>
              <c:ext xmlns:c16="http://schemas.microsoft.com/office/drawing/2014/chart" uri="{C3380CC4-5D6E-409C-BE32-E72D297353CC}">
                <c16:uniqueId val="{00000001-2478-4522-AD83-8E1BF6CFEB41}"/>
              </c:ext>
            </c:extLst>
          </c:dPt>
          <c:dPt>
            <c:idx val="3"/>
            <c:invertIfNegative val="0"/>
            <c:bubble3D val="0"/>
            <c:spPr>
              <a:solidFill>
                <a:srgbClr val="003E77">
                  <a:alpha val="70000"/>
                </a:srgbClr>
              </a:solidFill>
            </c:spPr>
            <c:extLst>
              <c:ext xmlns:c16="http://schemas.microsoft.com/office/drawing/2014/chart" uri="{C3380CC4-5D6E-409C-BE32-E72D297353CC}">
                <c16:uniqueId val="{00000003-2478-4522-AD83-8E1BF6CFEB41}"/>
              </c:ext>
            </c:extLst>
          </c:dPt>
          <c:cat>
            <c:strRef>
              <c:f>Лист1!$A$2:$A$5</c:f>
              <c:strCache>
                <c:ptCount val="4"/>
                <c:pt idx="0">
                  <c:v>Рассмотрено обращений</c:v>
                </c:pt>
                <c:pt idx="1">
                  <c:v>Включено в реестр</c:v>
                </c:pt>
                <c:pt idx="2">
                  <c:v>Рассмотрено обращений</c:v>
                </c:pt>
                <c:pt idx="3">
                  <c:v>Включено в реестр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7299</c:v>
                </c:pt>
                <c:pt idx="1">
                  <c:v>12966</c:v>
                </c:pt>
                <c:pt idx="2">
                  <c:v>14117</c:v>
                </c:pt>
                <c:pt idx="3">
                  <c:v>70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478-4522-AD83-8E1BF6CFEB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333986816"/>
        <c:axId val="333988608"/>
        <c:axId val="0"/>
      </c:bar3DChart>
      <c:catAx>
        <c:axId val="3339868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333988608"/>
        <c:crosses val="autoZero"/>
        <c:auto val="1"/>
        <c:lblAlgn val="ctr"/>
        <c:lblOffset val="100"/>
        <c:noMultiLvlLbl val="0"/>
      </c:catAx>
      <c:valAx>
        <c:axId val="33398860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339868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436C008-39A5-4435-9446-562AA2F8A114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06B05D5-AB33-479A-B444-807D5A57C0C5}">
      <dgm:prSet phldrT="[Текст]" custT="1"/>
      <dgm:spPr>
        <a:solidFill>
          <a:srgbClr val="003E77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gm:spPr>
      <dgm:t>
        <a:bodyPr spcFirstLastPara="0" vert="horz" wrap="square" lIns="36000" tIns="0" rIns="36000" bIns="0" numCol="1" spcCol="1270" anchor="ctr" anchorCtr="0"/>
        <a:lstStyle/>
        <a:p>
          <a:pPr marL="0" algn="ctr" defTabSz="457200" rtl="0" eaLnBrk="1" latinLnBrk="0" hangingPunct="1"/>
          <a:r>
            <a:rPr lang="ru-RU" sz="1600" b="1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Запрещается координация экономической деятельности, если такая координация приводит к:</a:t>
          </a:r>
        </a:p>
      </dgm:t>
    </dgm:pt>
    <dgm:pt modelId="{BB7823AD-CA8F-4A42-B1E4-72D011309813}" type="parTrans" cxnId="{2695A02C-B685-4778-8492-4EC8A1EC674C}">
      <dgm:prSet/>
      <dgm:spPr/>
      <dgm:t>
        <a:bodyPr/>
        <a:lstStyle/>
        <a:p>
          <a:endParaRPr lang="ru-RU"/>
        </a:p>
      </dgm:t>
    </dgm:pt>
    <dgm:pt modelId="{732D8507-3238-40AD-A0EC-331A9D9D7D7C}" type="sibTrans" cxnId="{2695A02C-B685-4778-8492-4EC8A1EC674C}">
      <dgm:prSet/>
      <dgm:spPr/>
      <dgm:t>
        <a:bodyPr/>
        <a:lstStyle/>
        <a:p>
          <a:endParaRPr lang="ru-RU"/>
        </a:p>
      </dgm:t>
    </dgm:pt>
    <dgm:pt modelId="{00D63FD6-6FE1-4BF9-B6EB-1EE2C5F04E6C}" type="pres">
      <dgm:prSet presAssocID="{3436C008-39A5-4435-9446-562AA2F8A114}" presName="Name0" presStyleCnt="0">
        <dgm:presLayoutVars>
          <dgm:dir/>
          <dgm:resizeHandles val="exact"/>
        </dgm:presLayoutVars>
      </dgm:prSet>
      <dgm:spPr/>
    </dgm:pt>
    <dgm:pt modelId="{87E08E4B-4A65-40C7-A726-56332B992362}" type="pres">
      <dgm:prSet presAssocID="{F06B05D5-AB33-479A-B444-807D5A57C0C5}" presName="node" presStyleLbl="node1" presStyleIdx="0" presStyleCnt="1" custScaleX="100098" custLinFactNeighborX="-480" custLinFactNeighborY="-10">
        <dgm:presLayoutVars>
          <dgm:bulletEnabled val="1"/>
        </dgm:presLayoutVars>
      </dgm:prSet>
      <dgm:spPr>
        <a:xfrm rot="16200000">
          <a:off x="-1568621" y="1568621"/>
          <a:ext cx="4647293" cy="1510049"/>
        </a:xfrm>
        <a:prstGeom prst="flowChartManualOperation">
          <a:avLst/>
        </a:prstGeom>
      </dgm:spPr>
    </dgm:pt>
  </dgm:ptLst>
  <dgm:cxnLst>
    <dgm:cxn modelId="{2695A02C-B685-4778-8492-4EC8A1EC674C}" srcId="{3436C008-39A5-4435-9446-562AA2F8A114}" destId="{F06B05D5-AB33-479A-B444-807D5A57C0C5}" srcOrd="0" destOrd="0" parTransId="{BB7823AD-CA8F-4A42-B1E4-72D011309813}" sibTransId="{732D8507-3238-40AD-A0EC-331A9D9D7D7C}"/>
    <dgm:cxn modelId="{4497DF2E-3B58-42F7-AEB3-8F1D71ADF696}" type="presOf" srcId="{3436C008-39A5-4435-9446-562AA2F8A114}" destId="{00D63FD6-6FE1-4BF9-B6EB-1EE2C5F04E6C}" srcOrd="0" destOrd="0" presId="urn:microsoft.com/office/officeart/2005/8/layout/hList6"/>
    <dgm:cxn modelId="{CB07E3DA-03C1-49D2-AE7D-E167E8EA15C2}" type="presOf" srcId="{F06B05D5-AB33-479A-B444-807D5A57C0C5}" destId="{87E08E4B-4A65-40C7-A726-56332B992362}" srcOrd="0" destOrd="0" presId="urn:microsoft.com/office/officeart/2005/8/layout/hList6"/>
    <dgm:cxn modelId="{970FE07B-BC99-4275-B7A9-8510DBF80DCB}" type="presParOf" srcId="{00D63FD6-6FE1-4BF9-B6EB-1EE2C5F04E6C}" destId="{87E08E4B-4A65-40C7-A726-56332B992362}" srcOrd="0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DEFDC15-27E3-E943-BADA-3F442128A7E3}" type="doc">
      <dgm:prSet loTypeId="urn:microsoft.com/office/officeart/2005/8/layout/cycle8" loCatId="" qsTypeId="urn:microsoft.com/office/officeart/2005/8/quickstyle/simple1" qsCatId="simple" csTypeId="urn:microsoft.com/office/officeart/2005/8/colors/accent1_2" csCatId="accent1" phldr="1"/>
      <dgm:spPr/>
    </dgm:pt>
    <dgm:pt modelId="{4FEFA9E2-5B92-E546-AE08-5A5134162EC5}">
      <dgm:prSet phldrT="[Текст]"/>
      <dgm:spPr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rgbClr val="00A8F1"/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</dgm:spPr>
      <dgm:t>
        <a:bodyPr/>
        <a:lstStyle/>
        <a:p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Доля на рынке более 50 %</a:t>
          </a:r>
        </a:p>
        <a:p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(доминирующее положение)</a:t>
          </a:r>
        </a:p>
      </dgm:t>
    </dgm:pt>
    <dgm:pt modelId="{62C71F5F-B267-354B-BAD9-CAE7DB1D1D2D}" type="parTrans" cxnId="{735F5B56-2212-5346-A503-271689FBD6A5}">
      <dgm:prSet/>
      <dgm:spPr/>
      <dgm:t>
        <a:bodyPr/>
        <a:lstStyle/>
        <a:p>
          <a:endParaRPr lang="ru-RU"/>
        </a:p>
      </dgm:t>
    </dgm:pt>
    <dgm:pt modelId="{7793886E-6EC6-1341-94F1-00B46374EF21}" type="sibTrans" cxnId="{735F5B56-2212-5346-A503-271689FBD6A5}">
      <dgm:prSet/>
      <dgm:spPr/>
      <dgm:t>
        <a:bodyPr/>
        <a:lstStyle/>
        <a:p>
          <a:endParaRPr lang="ru-RU"/>
        </a:p>
      </dgm:t>
    </dgm:pt>
    <dgm:pt modelId="{14C58678-1AD8-8948-B6D1-709C54B8F8DD}">
      <dgm:prSet phldrT="[Текст]"/>
      <dgm:spPr>
        <a:gradFill flip="none" rotWithShape="1">
          <a:gsLst>
            <a:gs pos="0">
              <a:schemeClr val="accent6">
                <a:lumMod val="40000"/>
                <a:lumOff val="60000"/>
              </a:schemeClr>
            </a:gs>
            <a:gs pos="46000">
              <a:schemeClr val="accent6">
                <a:lumMod val="95000"/>
                <a:lumOff val="5000"/>
              </a:schemeClr>
            </a:gs>
            <a:gs pos="100000">
              <a:schemeClr val="bg1">
                <a:lumMod val="50000"/>
              </a:schemeClr>
            </a:gs>
          </a:gsLst>
          <a:path path="circle">
            <a:fillToRect l="50000" t="130000" r="50000" b="-30000"/>
          </a:path>
          <a:tileRect/>
        </a:gradFill>
      </dgm:spPr>
      <dgm:t>
        <a:bodyPr/>
        <a:lstStyle/>
        <a:p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Доля на рынке 35 – 50 % (может быть признано доминирующим положением)</a:t>
          </a:r>
        </a:p>
      </dgm:t>
    </dgm:pt>
    <dgm:pt modelId="{AC8AED3A-B131-C84A-B716-0C9855D1931E}" type="parTrans" cxnId="{107B8D69-DCDB-3A46-B90E-5927D7D2DA28}">
      <dgm:prSet/>
      <dgm:spPr/>
      <dgm:t>
        <a:bodyPr/>
        <a:lstStyle/>
        <a:p>
          <a:endParaRPr lang="ru-RU"/>
        </a:p>
      </dgm:t>
    </dgm:pt>
    <dgm:pt modelId="{7E4F2527-86E0-1442-83D1-C4E0EA9720A9}" type="sibTrans" cxnId="{107B8D69-DCDB-3A46-B90E-5927D7D2DA28}">
      <dgm:prSet/>
      <dgm:spPr/>
      <dgm:t>
        <a:bodyPr/>
        <a:lstStyle/>
        <a:p>
          <a:endParaRPr lang="ru-RU"/>
        </a:p>
      </dgm:t>
    </dgm:pt>
    <dgm:pt modelId="{A675A021-79BD-8A40-B90F-DE83277B9EE8}">
      <dgm:prSet phldrT="[Текст]"/>
      <dgm:spPr>
        <a:gradFill flip="none" rotWithShape="1">
          <a:gsLst>
            <a:gs pos="0">
              <a:schemeClr val="bg1">
                <a:lumMod val="95000"/>
              </a:schemeClr>
            </a:gs>
            <a:gs pos="46000">
              <a:schemeClr val="bg1">
                <a:lumMod val="65000"/>
              </a:schemeClr>
            </a:gs>
            <a:gs pos="100000">
              <a:schemeClr val="bg1">
                <a:lumMod val="65000"/>
              </a:schemeClr>
            </a:gs>
          </a:gsLst>
          <a:path path="circle">
            <a:fillToRect l="50000" t="130000" r="50000" b="-30000"/>
          </a:path>
          <a:tileRect/>
        </a:gradFill>
      </dgm:spPr>
      <dgm:t>
        <a:bodyPr/>
        <a:lstStyle/>
        <a:p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Доля на рынке менее 35 %</a:t>
          </a:r>
        </a:p>
        <a:p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(исключения)</a:t>
          </a:r>
        </a:p>
      </dgm:t>
    </dgm:pt>
    <dgm:pt modelId="{44815F6B-E4F4-F744-869F-666071108254}" type="parTrans" cxnId="{61AA93A6-6464-AB47-8A02-983661A3D38B}">
      <dgm:prSet/>
      <dgm:spPr/>
      <dgm:t>
        <a:bodyPr/>
        <a:lstStyle/>
        <a:p>
          <a:endParaRPr lang="ru-RU"/>
        </a:p>
      </dgm:t>
    </dgm:pt>
    <dgm:pt modelId="{E4110EFB-2439-3543-91C3-9BB5D730806B}" type="sibTrans" cxnId="{61AA93A6-6464-AB47-8A02-983661A3D38B}">
      <dgm:prSet/>
      <dgm:spPr/>
      <dgm:t>
        <a:bodyPr/>
        <a:lstStyle/>
        <a:p>
          <a:endParaRPr lang="ru-RU"/>
        </a:p>
      </dgm:t>
    </dgm:pt>
    <dgm:pt modelId="{B29D940F-7388-D148-9178-A8B13ED067C2}" type="pres">
      <dgm:prSet presAssocID="{1DEFDC15-27E3-E943-BADA-3F442128A7E3}" presName="compositeShape" presStyleCnt="0">
        <dgm:presLayoutVars>
          <dgm:chMax val="7"/>
          <dgm:dir/>
          <dgm:resizeHandles val="exact"/>
        </dgm:presLayoutVars>
      </dgm:prSet>
      <dgm:spPr/>
    </dgm:pt>
    <dgm:pt modelId="{84ACA057-8E44-7747-AAE7-A1D154239985}" type="pres">
      <dgm:prSet presAssocID="{1DEFDC15-27E3-E943-BADA-3F442128A7E3}" presName="wedge1" presStyleLbl="node1" presStyleIdx="0" presStyleCnt="3"/>
      <dgm:spPr/>
    </dgm:pt>
    <dgm:pt modelId="{EBC187C4-D760-934F-97DA-5FC90521466F}" type="pres">
      <dgm:prSet presAssocID="{1DEFDC15-27E3-E943-BADA-3F442128A7E3}" presName="dummy1a" presStyleCnt="0"/>
      <dgm:spPr/>
    </dgm:pt>
    <dgm:pt modelId="{855983C6-283E-1049-96A1-9CB4FE455D4E}" type="pres">
      <dgm:prSet presAssocID="{1DEFDC15-27E3-E943-BADA-3F442128A7E3}" presName="dummy1b" presStyleCnt="0"/>
      <dgm:spPr/>
    </dgm:pt>
    <dgm:pt modelId="{98A97A2F-562E-3F4A-952D-A3AA98660C4E}" type="pres">
      <dgm:prSet presAssocID="{1DEFDC15-27E3-E943-BADA-3F442128A7E3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E65B79CE-0555-D84B-804D-E42719960BAC}" type="pres">
      <dgm:prSet presAssocID="{1DEFDC15-27E3-E943-BADA-3F442128A7E3}" presName="wedge2" presStyleLbl="node1" presStyleIdx="1" presStyleCnt="3"/>
      <dgm:spPr/>
    </dgm:pt>
    <dgm:pt modelId="{3E63585C-A36F-7A4C-9329-FBA15BEF32A1}" type="pres">
      <dgm:prSet presAssocID="{1DEFDC15-27E3-E943-BADA-3F442128A7E3}" presName="dummy2a" presStyleCnt="0"/>
      <dgm:spPr/>
    </dgm:pt>
    <dgm:pt modelId="{0B46DF71-F13F-CD47-A93D-FA9DC1961D91}" type="pres">
      <dgm:prSet presAssocID="{1DEFDC15-27E3-E943-BADA-3F442128A7E3}" presName="dummy2b" presStyleCnt="0"/>
      <dgm:spPr/>
    </dgm:pt>
    <dgm:pt modelId="{0D3F60F7-4501-0C42-9745-0BAEE8DB8439}" type="pres">
      <dgm:prSet presAssocID="{1DEFDC15-27E3-E943-BADA-3F442128A7E3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6BD31E8D-4F56-024D-85B6-2222423B385B}" type="pres">
      <dgm:prSet presAssocID="{1DEFDC15-27E3-E943-BADA-3F442128A7E3}" presName="wedge3" presStyleLbl="node1" presStyleIdx="2" presStyleCnt="3"/>
      <dgm:spPr/>
    </dgm:pt>
    <dgm:pt modelId="{58189868-C3C1-4E42-BC49-7634410256CF}" type="pres">
      <dgm:prSet presAssocID="{1DEFDC15-27E3-E943-BADA-3F442128A7E3}" presName="dummy3a" presStyleCnt="0"/>
      <dgm:spPr/>
    </dgm:pt>
    <dgm:pt modelId="{7ACC8DF6-E71F-924A-B945-C92636189118}" type="pres">
      <dgm:prSet presAssocID="{1DEFDC15-27E3-E943-BADA-3F442128A7E3}" presName="dummy3b" presStyleCnt="0"/>
      <dgm:spPr/>
    </dgm:pt>
    <dgm:pt modelId="{3EA86008-A0B1-FB41-8B96-1FA06022A056}" type="pres">
      <dgm:prSet presAssocID="{1DEFDC15-27E3-E943-BADA-3F442128A7E3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619CA393-F7C9-824F-908F-D980C371FF28}" type="pres">
      <dgm:prSet presAssocID="{7793886E-6EC6-1341-94F1-00B46374EF21}" presName="arrowWedge1" presStyleLbl="fgSibTrans2D1" presStyleIdx="0" presStyleCnt="3"/>
      <dgm:spPr/>
    </dgm:pt>
    <dgm:pt modelId="{5722AAB5-065B-3443-A55D-74D9317E65AE}" type="pres">
      <dgm:prSet presAssocID="{7E4F2527-86E0-1442-83D1-C4E0EA9720A9}" presName="arrowWedge2" presStyleLbl="fgSibTrans2D1" presStyleIdx="1" presStyleCnt="3"/>
      <dgm:spPr/>
    </dgm:pt>
    <dgm:pt modelId="{E0F2DD51-5043-A142-88E3-57D6CB7E9D98}" type="pres">
      <dgm:prSet presAssocID="{E4110EFB-2439-3543-91C3-9BB5D730806B}" presName="arrowWedge3" presStyleLbl="fgSibTrans2D1" presStyleIdx="2" presStyleCnt="3"/>
      <dgm:spPr/>
    </dgm:pt>
  </dgm:ptLst>
  <dgm:cxnLst>
    <dgm:cxn modelId="{DB8F5607-8F90-4688-ADCD-13707DEB2320}" type="presOf" srcId="{4FEFA9E2-5B92-E546-AE08-5A5134162EC5}" destId="{84ACA057-8E44-7747-AAE7-A1D154239985}" srcOrd="0" destOrd="0" presId="urn:microsoft.com/office/officeart/2005/8/layout/cycle8"/>
    <dgm:cxn modelId="{3135452A-B805-43CF-BF01-6863F44351D9}" type="presOf" srcId="{A675A021-79BD-8A40-B90F-DE83277B9EE8}" destId="{6BD31E8D-4F56-024D-85B6-2222423B385B}" srcOrd="0" destOrd="0" presId="urn:microsoft.com/office/officeart/2005/8/layout/cycle8"/>
    <dgm:cxn modelId="{B042442F-1C6F-4609-B0DC-05E782CC30EA}" type="presOf" srcId="{14C58678-1AD8-8948-B6D1-709C54B8F8DD}" destId="{E65B79CE-0555-D84B-804D-E42719960BAC}" srcOrd="0" destOrd="0" presId="urn:microsoft.com/office/officeart/2005/8/layout/cycle8"/>
    <dgm:cxn modelId="{6174C762-50C5-4372-B065-55C26C68EB89}" type="presOf" srcId="{A675A021-79BD-8A40-B90F-DE83277B9EE8}" destId="{3EA86008-A0B1-FB41-8B96-1FA06022A056}" srcOrd="1" destOrd="0" presId="urn:microsoft.com/office/officeart/2005/8/layout/cycle8"/>
    <dgm:cxn modelId="{107B8D69-DCDB-3A46-B90E-5927D7D2DA28}" srcId="{1DEFDC15-27E3-E943-BADA-3F442128A7E3}" destId="{14C58678-1AD8-8948-B6D1-709C54B8F8DD}" srcOrd="1" destOrd="0" parTransId="{AC8AED3A-B131-C84A-B716-0C9855D1931E}" sibTransId="{7E4F2527-86E0-1442-83D1-C4E0EA9720A9}"/>
    <dgm:cxn modelId="{735F5B56-2212-5346-A503-271689FBD6A5}" srcId="{1DEFDC15-27E3-E943-BADA-3F442128A7E3}" destId="{4FEFA9E2-5B92-E546-AE08-5A5134162EC5}" srcOrd="0" destOrd="0" parTransId="{62C71F5F-B267-354B-BAD9-CAE7DB1D1D2D}" sibTransId="{7793886E-6EC6-1341-94F1-00B46374EF21}"/>
    <dgm:cxn modelId="{AB80C28E-317D-4109-BC6A-DA9242062E6D}" type="presOf" srcId="{1DEFDC15-27E3-E943-BADA-3F442128A7E3}" destId="{B29D940F-7388-D148-9178-A8B13ED067C2}" srcOrd="0" destOrd="0" presId="urn:microsoft.com/office/officeart/2005/8/layout/cycle8"/>
    <dgm:cxn modelId="{15546D9A-FA72-4787-9CDF-D9089DCD0C15}" type="presOf" srcId="{14C58678-1AD8-8948-B6D1-709C54B8F8DD}" destId="{0D3F60F7-4501-0C42-9745-0BAEE8DB8439}" srcOrd="1" destOrd="0" presId="urn:microsoft.com/office/officeart/2005/8/layout/cycle8"/>
    <dgm:cxn modelId="{61AA93A6-6464-AB47-8A02-983661A3D38B}" srcId="{1DEFDC15-27E3-E943-BADA-3F442128A7E3}" destId="{A675A021-79BD-8A40-B90F-DE83277B9EE8}" srcOrd="2" destOrd="0" parTransId="{44815F6B-E4F4-F744-869F-666071108254}" sibTransId="{E4110EFB-2439-3543-91C3-9BB5D730806B}"/>
    <dgm:cxn modelId="{2822CBF9-A955-430A-99B8-213942740DC4}" type="presOf" srcId="{4FEFA9E2-5B92-E546-AE08-5A5134162EC5}" destId="{98A97A2F-562E-3F4A-952D-A3AA98660C4E}" srcOrd="1" destOrd="0" presId="urn:microsoft.com/office/officeart/2005/8/layout/cycle8"/>
    <dgm:cxn modelId="{DE07AD62-18AD-4FED-9B16-FAA79E805A16}" type="presParOf" srcId="{B29D940F-7388-D148-9178-A8B13ED067C2}" destId="{84ACA057-8E44-7747-AAE7-A1D154239985}" srcOrd="0" destOrd="0" presId="urn:microsoft.com/office/officeart/2005/8/layout/cycle8"/>
    <dgm:cxn modelId="{92A4C493-6E76-4F56-B99D-5D5C3E138CB0}" type="presParOf" srcId="{B29D940F-7388-D148-9178-A8B13ED067C2}" destId="{EBC187C4-D760-934F-97DA-5FC90521466F}" srcOrd="1" destOrd="0" presId="urn:microsoft.com/office/officeart/2005/8/layout/cycle8"/>
    <dgm:cxn modelId="{462FD348-2FBC-4644-B85D-2DE619A33773}" type="presParOf" srcId="{B29D940F-7388-D148-9178-A8B13ED067C2}" destId="{855983C6-283E-1049-96A1-9CB4FE455D4E}" srcOrd="2" destOrd="0" presId="urn:microsoft.com/office/officeart/2005/8/layout/cycle8"/>
    <dgm:cxn modelId="{189791EC-00D9-465F-9781-C802148DBBDF}" type="presParOf" srcId="{B29D940F-7388-D148-9178-A8B13ED067C2}" destId="{98A97A2F-562E-3F4A-952D-A3AA98660C4E}" srcOrd="3" destOrd="0" presId="urn:microsoft.com/office/officeart/2005/8/layout/cycle8"/>
    <dgm:cxn modelId="{E54C1F37-CAA7-4F8D-9B18-14A89465A323}" type="presParOf" srcId="{B29D940F-7388-D148-9178-A8B13ED067C2}" destId="{E65B79CE-0555-D84B-804D-E42719960BAC}" srcOrd="4" destOrd="0" presId="urn:microsoft.com/office/officeart/2005/8/layout/cycle8"/>
    <dgm:cxn modelId="{08F4DC3C-72A8-4BFF-858C-5CDB0B0BA674}" type="presParOf" srcId="{B29D940F-7388-D148-9178-A8B13ED067C2}" destId="{3E63585C-A36F-7A4C-9329-FBA15BEF32A1}" srcOrd="5" destOrd="0" presId="urn:microsoft.com/office/officeart/2005/8/layout/cycle8"/>
    <dgm:cxn modelId="{D8C5C321-80DA-4D3C-8D54-0FB5BC59A862}" type="presParOf" srcId="{B29D940F-7388-D148-9178-A8B13ED067C2}" destId="{0B46DF71-F13F-CD47-A93D-FA9DC1961D91}" srcOrd="6" destOrd="0" presId="urn:microsoft.com/office/officeart/2005/8/layout/cycle8"/>
    <dgm:cxn modelId="{2BDDCE0B-90D2-4D04-81CB-ACF59D0AE463}" type="presParOf" srcId="{B29D940F-7388-D148-9178-A8B13ED067C2}" destId="{0D3F60F7-4501-0C42-9745-0BAEE8DB8439}" srcOrd="7" destOrd="0" presId="urn:microsoft.com/office/officeart/2005/8/layout/cycle8"/>
    <dgm:cxn modelId="{0EF71902-3355-4D12-9629-35F22210F3C6}" type="presParOf" srcId="{B29D940F-7388-D148-9178-A8B13ED067C2}" destId="{6BD31E8D-4F56-024D-85B6-2222423B385B}" srcOrd="8" destOrd="0" presId="urn:microsoft.com/office/officeart/2005/8/layout/cycle8"/>
    <dgm:cxn modelId="{659A4803-7C5E-4436-A457-770974D5F211}" type="presParOf" srcId="{B29D940F-7388-D148-9178-A8B13ED067C2}" destId="{58189868-C3C1-4E42-BC49-7634410256CF}" srcOrd="9" destOrd="0" presId="urn:microsoft.com/office/officeart/2005/8/layout/cycle8"/>
    <dgm:cxn modelId="{2292A98A-E288-4DAB-9C95-FBB399DBA1EB}" type="presParOf" srcId="{B29D940F-7388-D148-9178-A8B13ED067C2}" destId="{7ACC8DF6-E71F-924A-B945-C92636189118}" srcOrd="10" destOrd="0" presId="urn:microsoft.com/office/officeart/2005/8/layout/cycle8"/>
    <dgm:cxn modelId="{B791027E-BDBA-46C9-A2C3-6159E0BC2F83}" type="presParOf" srcId="{B29D940F-7388-D148-9178-A8B13ED067C2}" destId="{3EA86008-A0B1-FB41-8B96-1FA06022A056}" srcOrd="11" destOrd="0" presId="urn:microsoft.com/office/officeart/2005/8/layout/cycle8"/>
    <dgm:cxn modelId="{05CD02E5-4896-4406-BBAC-F961A4176588}" type="presParOf" srcId="{B29D940F-7388-D148-9178-A8B13ED067C2}" destId="{619CA393-F7C9-824F-908F-D980C371FF28}" srcOrd="12" destOrd="0" presId="urn:microsoft.com/office/officeart/2005/8/layout/cycle8"/>
    <dgm:cxn modelId="{26061382-2BF4-4639-BBA4-8202F648B03E}" type="presParOf" srcId="{B29D940F-7388-D148-9178-A8B13ED067C2}" destId="{5722AAB5-065B-3443-A55D-74D9317E65AE}" srcOrd="13" destOrd="0" presId="urn:microsoft.com/office/officeart/2005/8/layout/cycle8"/>
    <dgm:cxn modelId="{3E8A9829-FE0D-4D09-AC8A-2003C1215713}" type="presParOf" srcId="{B29D940F-7388-D148-9178-A8B13ED067C2}" destId="{E0F2DD51-5043-A142-88E3-57D6CB7E9D98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DEFDC15-27E3-E943-BADA-3F442128A7E3}" type="doc">
      <dgm:prSet loTypeId="urn:microsoft.com/office/officeart/2005/8/layout/cycle8" loCatId="" qsTypeId="urn:microsoft.com/office/officeart/2005/8/quickstyle/simple1" qsCatId="simple" csTypeId="urn:microsoft.com/office/officeart/2005/8/colors/accent1_2" csCatId="accent1" phldr="1"/>
      <dgm:spPr/>
    </dgm:pt>
    <dgm:pt modelId="{4FEFA9E2-5B92-E546-AE08-5A5134162EC5}">
      <dgm:prSet phldrT="[Текст]"/>
      <dgm:spPr>
        <a:gradFill flip="none" rotWithShape="0">
          <a:gsLst>
            <a:gs pos="0">
              <a:srgbClr val="C00000">
                <a:shade val="30000"/>
                <a:satMod val="115000"/>
              </a:srgbClr>
            </a:gs>
            <a:gs pos="50000">
              <a:srgbClr val="C00000">
                <a:shade val="67500"/>
                <a:satMod val="115000"/>
              </a:srgbClr>
            </a:gs>
            <a:gs pos="100000">
              <a:srgbClr val="C00000">
                <a:shade val="100000"/>
                <a:satMod val="115000"/>
              </a:srgbClr>
            </a:gs>
          </a:gsLst>
          <a:path path="circle">
            <a:fillToRect l="50000" t="50000" r="50000" b="50000"/>
          </a:path>
          <a:tileRect/>
        </a:gradFill>
      </dgm:spPr>
      <dgm:t>
        <a:bodyPr/>
        <a:lstStyle/>
        <a:p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Рынок запасных частей</a:t>
          </a:r>
        </a:p>
        <a:p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Доля на рынке более 50 %</a:t>
          </a:r>
        </a:p>
        <a:p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(доминирующее положение)</a:t>
          </a:r>
        </a:p>
      </dgm:t>
    </dgm:pt>
    <dgm:pt modelId="{62C71F5F-B267-354B-BAD9-CAE7DB1D1D2D}" type="parTrans" cxnId="{735F5B56-2212-5346-A503-271689FBD6A5}">
      <dgm:prSet/>
      <dgm:spPr/>
      <dgm:t>
        <a:bodyPr/>
        <a:lstStyle/>
        <a:p>
          <a:endParaRPr lang="ru-RU"/>
        </a:p>
      </dgm:t>
    </dgm:pt>
    <dgm:pt modelId="{7793886E-6EC6-1341-94F1-00B46374EF21}" type="sibTrans" cxnId="{735F5B56-2212-5346-A503-271689FBD6A5}">
      <dgm:prSet/>
      <dgm:spPr/>
      <dgm:t>
        <a:bodyPr/>
        <a:lstStyle/>
        <a:p>
          <a:endParaRPr lang="ru-RU"/>
        </a:p>
      </dgm:t>
    </dgm:pt>
    <dgm:pt modelId="{14C58678-1AD8-8948-B6D1-709C54B8F8DD}">
      <dgm:prSet phldrT="[Текст]"/>
      <dgm:spPr>
        <a:gradFill flip="none" rotWithShape="0">
          <a:gsLst>
            <a:gs pos="0">
              <a:srgbClr val="FFC000">
                <a:shade val="30000"/>
                <a:satMod val="115000"/>
              </a:srgbClr>
            </a:gs>
            <a:gs pos="50000">
              <a:srgbClr val="FFC000">
                <a:shade val="67500"/>
                <a:satMod val="115000"/>
              </a:srgbClr>
            </a:gs>
            <a:gs pos="100000">
              <a:srgbClr val="FFC000">
                <a:shade val="100000"/>
                <a:satMod val="115000"/>
              </a:srgbClr>
            </a:gs>
          </a:gsLst>
          <a:path path="circle">
            <a:fillToRect l="50000" t="50000" r="50000" b="50000"/>
          </a:path>
          <a:tileRect/>
        </a:gradFill>
      </dgm:spPr>
      <dgm:t>
        <a:bodyPr/>
        <a:lstStyle/>
        <a:p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Рынок услуг (сервис)</a:t>
          </a:r>
        </a:p>
        <a:p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Доля на рынке 35 – 50 % (может быть признано доминирующим положением)</a:t>
          </a:r>
        </a:p>
      </dgm:t>
    </dgm:pt>
    <dgm:pt modelId="{AC8AED3A-B131-C84A-B716-0C9855D1931E}" type="parTrans" cxnId="{107B8D69-DCDB-3A46-B90E-5927D7D2DA28}">
      <dgm:prSet/>
      <dgm:spPr/>
      <dgm:t>
        <a:bodyPr/>
        <a:lstStyle/>
        <a:p>
          <a:endParaRPr lang="ru-RU"/>
        </a:p>
      </dgm:t>
    </dgm:pt>
    <dgm:pt modelId="{7E4F2527-86E0-1442-83D1-C4E0EA9720A9}" type="sibTrans" cxnId="{107B8D69-DCDB-3A46-B90E-5927D7D2DA28}">
      <dgm:prSet/>
      <dgm:spPr/>
      <dgm:t>
        <a:bodyPr/>
        <a:lstStyle/>
        <a:p>
          <a:endParaRPr lang="ru-RU"/>
        </a:p>
      </dgm:t>
    </dgm:pt>
    <dgm:pt modelId="{A675A021-79BD-8A40-B90F-DE83277B9EE8}">
      <dgm:prSet phldrT="[Текст]"/>
      <dgm:spPr>
        <a:gradFill flip="none" rotWithShape="0">
          <a:gsLst>
            <a:gs pos="0">
              <a:srgbClr val="00B050">
                <a:shade val="30000"/>
                <a:satMod val="115000"/>
              </a:srgbClr>
            </a:gs>
            <a:gs pos="50000">
              <a:srgbClr val="00B050">
                <a:shade val="67500"/>
                <a:satMod val="115000"/>
              </a:srgbClr>
            </a:gs>
            <a:gs pos="100000">
              <a:srgbClr val="00B050">
                <a:shade val="100000"/>
                <a:satMod val="115000"/>
              </a:srgbClr>
            </a:gs>
          </a:gsLst>
          <a:path path="circle">
            <a:fillToRect l="50000" t="50000" r="50000" b="50000"/>
          </a:path>
          <a:tileRect/>
        </a:gradFill>
      </dgm:spPr>
      <dgm:t>
        <a:bodyPr/>
        <a:lstStyle/>
        <a:p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Рынок товаров</a:t>
          </a:r>
          <a:endParaRPr lang="de-DE" dirty="0"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ru-RU" dirty="0">
              <a:latin typeface="Arial" panose="020B0604020202020204" pitchFamily="34" charset="0"/>
              <a:cs typeface="Arial" panose="020B0604020202020204" pitchFamily="34" charset="0"/>
            </a:rPr>
            <a:t>Доля на рынке менее 35 %</a:t>
          </a:r>
        </a:p>
      </dgm:t>
    </dgm:pt>
    <dgm:pt modelId="{44815F6B-E4F4-F744-869F-666071108254}" type="parTrans" cxnId="{61AA93A6-6464-AB47-8A02-983661A3D38B}">
      <dgm:prSet/>
      <dgm:spPr/>
      <dgm:t>
        <a:bodyPr/>
        <a:lstStyle/>
        <a:p>
          <a:endParaRPr lang="ru-RU"/>
        </a:p>
      </dgm:t>
    </dgm:pt>
    <dgm:pt modelId="{E4110EFB-2439-3543-91C3-9BB5D730806B}" type="sibTrans" cxnId="{61AA93A6-6464-AB47-8A02-983661A3D38B}">
      <dgm:prSet/>
      <dgm:spPr/>
      <dgm:t>
        <a:bodyPr/>
        <a:lstStyle/>
        <a:p>
          <a:endParaRPr lang="ru-RU"/>
        </a:p>
      </dgm:t>
    </dgm:pt>
    <dgm:pt modelId="{B29D940F-7388-D148-9178-A8B13ED067C2}" type="pres">
      <dgm:prSet presAssocID="{1DEFDC15-27E3-E943-BADA-3F442128A7E3}" presName="compositeShape" presStyleCnt="0">
        <dgm:presLayoutVars>
          <dgm:chMax val="7"/>
          <dgm:dir/>
          <dgm:resizeHandles val="exact"/>
        </dgm:presLayoutVars>
      </dgm:prSet>
      <dgm:spPr/>
    </dgm:pt>
    <dgm:pt modelId="{84ACA057-8E44-7747-AAE7-A1D154239985}" type="pres">
      <dgm:prSet presAssocID="{1DEFDC15-27E3-E943-BADA-3F442128A7E3}" presName="wedge1" presStyleLbl="node1" presStyleIdx="0" presStyleCnt="3"/>
      <dgm:spPr/>
    </dgm:pt>
    <dgm:pt modelId="{EBC187C4-D760-934F-97DA-5FC90521466F}" type="pres">
      <dgm:prSet presAssocID="{1DEFDC15-27E3-E943-BADA-3F442128A7E3}" presName="dummy1a" presStyleCnt="0"/>
      <dgm:spPr/>
    </dgm:pt>
    <dgm:pt modelId="{855983C6-283E-1049-96A1-9CB4FE455D4E}" type="pres">
      <dgm:prSet presAssocID="{1DEFDC15-27E3-E943-BADA-3F442128A7E3}" presName="dummy1b" presStyleCnt="0"/>
      <dgm:spPr/>
    </dgm:pt>
    <dgm:pt modelId="{98A97A2F-562E-3F4A-952D-A3AA98660C4E}" type="pres">
      <dgm:prSet presAssocID="{1DEFDC15-27E3-E943-BADA-3F442128A7E3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E65B79CE-0555-D84B-804D-E42719960BAC}" type="pres">
      <dgm:prSet presAssocID="{1DEFDC15-27E3-E943-BADA-3F442128A7E3}" presName="wedge2" presStyleLbl="node1" presStyleIdx="1" presStyleCnt="3"/>
      <dgm:spPr/>
    </dgm:pt>
    <dgm:pt modelId="{3E63585C-A36F-7A4C-9329-FBA15BEF32A1}" type="pres">
      <dgm:prSet presAssocID="{1DEFDC15-27E3-E943-BADA-3F442128A7E3}" presName="dummy2a" presStyleCnt="0"/>
      <dgm:spPr/>
    </dgm:pt>
    <dgm:pt modelId="{0B46DF71-F13F-CD47-A93D-FA9DC1961D91}" type="pres">
      <dgm:prSet presAssocID="{1DEFDC15-27E3-E943-BADA-3F442128A7E3}" presName="dummy2b" presStyleCnt="0"/>
      <dgm:spPr/>
    </dgm:pt>
    <dgm:pt modelId="{0D3F60F7-4501-0C42-9745-0BAEE8DB8439}" type="pres">
      <dgm:prSet presAssocID="{1DEFDC15-27E3-E943-BADA-3F442128A7E3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6BD31E8D-4F56-024D-85B6-2222423B385B}" type="pres">
      <dgm:prSet presAssocID="{1DEFDC15-27E3-E943-BADA-3F442128A7E3}" presName="wedge3" presStyleLbl="node1" presStyleIdx="2" presStyleCnt="3"/>
      <dgm:spPr/>
    </dgm:pt>
    <dgm:pt modelId="{58189868-C3C1-4E42-BC49-7634410256CF}" type="pres">
      <dgm:prSet presAssocID="{1DEFDC15-27E3-E943-BADA-3F442128A7E3}" presName="dummy3a" presStyleCnt="0"/>
      <dgm:spPr/>
    </dgm:pt>
    <dgm:pt modelId="{7ACC8DF6-E71F-924A-B945-C92636189118}" type="pres">
      <dgm:prSet presAssocID="{1DEFDC15-27E3-E943-BADA-3F442128A7E3}" presName="dummy3b" presStyleCnt="0"/>
      <dgm:spPr/>
    </dgm:pt>
    <dgm:pt modelId="{3EA86008-A0B1-FB41-8B96-1FA06022A056}" type="pres">
      <dgm:prSet presAssocID="{1DEFDC15-27E3-E943-BADA-3F442128A7E3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619CA393-F7C9-824F-908F-D980C371FF28}" type="pres">
      <dgm:prSet presAssocID="{7793886E-6EC6-1341-94F1-00B46374EF21}" presName="arrowWedge1" presStyleLbl="fgSibTrans2D1" presStyleIdx="0" presStyleCnt="3"/>
      <dgm:spPr/>
    </dgm:pt>
    <dgm:pt modelId="{5722AAB5-065B-3443-A55D-74D9317E65AE}" type="pres">
      <dgm:prSet presAssocID="{7E4F2527-86E0-1442-83D1-C4E0EA9720A9}" presName="arrowWedge2" presStyleLbl="fgSibTrans2D1" presStyleIdx="1" presStyleCnt="3"/>
      <dgm:spPr/>
    </dgm:pt>
    <dgm:pt modelId="{E0F2DD51-5043-A142-88E3-57D6CB7E9D98}" type="pres">
      <dgm:prSet presAssocID="{E4110EFB-2439-3543-91C3-9BB5D730806B}" presName="arrowWedge3" presStyleLbl="fgSibTrans2D1" presStyleIdx="2" presStyleCnt="3"/>
      <dgm:spPr/>
    </dgm:pt>
  </dgm:ptLst>
  <dgm:cxnLst>
    <dgm:cxn modelId="{BB80800B-0861-47B6-A396-D9DE3AA478D6}" type="presOf" srcId="{A675A021-79BD-8A40-B90F-DE83277B9EE8}" destId="{6BD31E8D-4F56-024D-85B6-2222423B385B}" srcOrd="0" destOrd="0" presId="urn:microsoft.com/office/officeart/2005/8/layout/cycle8"/>
    <dgm:cxn modelId="{0FA4BD15-A4F1-48AC-8C5C-1A77BC2D138F}" type="presOf" srcId="{1DEFDC15-27E3-E943-BADA-3F442128A7E3}" destId="{B29D940F-7388-D148-9178-A8B13ED067C2}" srcOrd="0" destOrd="0" presId="urn:microsoft.com/office/officeart/2005/8/layout/cycle8"/>
    <dgm:cxn modelId="{6B674239-F54B-4937-8E5A-6F4542179B0D}" type="presOf" srcId="{14C58678-1AD8-8948-B6D1-709C54B8F8DD}" destId="{0D3F60F7-4501-0C42-9745-0BAEE8DB8439}" srcOrd="1" destOrd="0" presId="urn:microsoft.com/office/officeart/2005/8/layout/cycle8"/>
    <dgm:cxn modelId="{107B8D69-DCDB-3A46-B90E-5927D7D2DA28}" srcId="{1DEFDC15-27E3-E943-BADA-3F442128A7E3}" destId="{14C58678-1AD8-8948-B6D1-709C54B8F8DD}" srcOrd="1" destOrd="0" parTransId="{AC8AED3A-B131-C84A-B716-0C9855D1931E}" sibTransId="{7E4F2527-86E0-1442-83D1-C4E0EA9720A9}"/>
    <dgm:cxn modelId="{735F5B56-2212-5346-A503-271689FBD6A5}" srcId="{1DEFDC15-27E3-E943-BADA-3F442128A7E3}" destId="{4FEFA9E2-5B92-E546-AE08-5A5134162EC5}" srcOrd="0" destOrd="0" parTransId="{62C71F5F-B267-354B-BAD9-CAE7DB1D1D2D}" sibTransId="{7793886E-6EC6-1341-94F1-00B46374EF21}"/>
    <dgm:cxn modelId="{61AA93A6-6464-AB47-8A02-983661A3D38B}" srcId="{1DEFDC15-27E3-E943-BADA-3F442128A7E3}" destId="{A675A021-79BD-8A40-B90F-DE83277B9EE8}" srcOrd="2" destOrd="0" parTransId="{44815F6B-E4F4-F744-869F-666071108254}" sibTransId="{E4110EFB-2439-3543-91C3-9BB5D730806B}"/>
    <dgm:cxn modelId="{03FC3FB8-87C1-4DF4-BB74-04B14FC4A0EE}" type="presOf" srcId="{4FEFA9E2-5B92-E546-AE08-5A5134162EC5}" destId="{84ACA057-8E44-7747-AAE7-A1D154239985}" srcOrd="0" destOrd="0" presId="urn:microsoft.com/office/officeart/2005/8/layout/cycle8"/>
    <dgm:cxn modelId="{7C0930EB-5C7B-45A5-AC12-018CC64969BE}" type="presOf" srcId="{A675A021-79BD-8A40-B90F-DE83277B9EE8}" destId="{3EA86008-A0B1-FB41-8B96-1FA06022A056}" srcOrd="1" destOrd="0" presId="urn:microsoft.com/office/officeart/2005/8/layout/cycle8"/>
    <dgm:cxn modelId="{89B65CF1-7BD0-462D-BC6A-8498B3289DEC}" type="presOf" srcId="{14C58678-1AD8-8948-B6D1-709C54B8F8DD}" destId="{E65B79CE-0555-D84B-804D-E42719960BAC}" srcOrd="0" destOrd="0" presId="urn:microsoft.com/office/officeart/2005/8/layout/cycle8"/>
    <dgm:cxn modelId="{00B080F7-9CB8-469C-A9C0-335E54D2E885}" type="presOf" srcId="{4FEFA9E2-5B92-E546-AE08-5A5134162EC5}" destId="{98A97A2F-562E-3F4A-952D-A3AA98660C4E}" srcOrd="1" destOrd="0" presId="urn:microsoft.com/office/officeart/2005/8/layout/cycle8"/>
    <dgm:cxn modelId="{9A7E3164-9C43-4DFE-AB8A-F86F869DDC41}" type="presParOf" srcId="{B29D940F-7388-D148-9178-A8B13ED067C2}" destId="{84ACA057-8E44-7747-AAE7-A1D154239985}" srcOrd="0" destOrd="0" presId="urn:microsoft.com/office/officeart/2005/8/layout/cycle8"/>
    <dgm:cxn modelId="{B9295522-DAE9-402B-8CCE-9FBEEF246578}" type="presParOf" srcId="{B29D940F-7388-D148-9178-A8B13ED067C2}" destId="{EBC187C4-D760-934F-97DA-5FC90521466F}" srcOrd="1" destOrd="0" presId="urn:microsoft.com/office/officeart/2005/8/layout/cycle8"/>
    <dgm:cxn modelId="{791FFB27-975D-4912-B4F1-5D88190BAEF2}" type="presParOf" srcId="{B29D940F-7388-D148-9178-A8B13ED067C2}" destId="{855983C6-283E-1049-96A1-9CB4FE455D4E}" srcOrd="2" destOrd="0" presId="urn:microsoft.com/office/officeart/2005/8/layout/cycle8"/>
    <dgm:cxn modelId="{8283AFA9-5D8E-4806-B700-58F6C4812EA7}" type="presParOf" srcId="{B29D940F-7388-D148-9178-A8B13ED067C2}" destId="{98A97A2F-562E-3F4A-952D-A3AA98660C4E}" srcOrd="3" destOrd="0" presId="urn:microsoft.com/office/officeart/2005/8/layout/cycle8"/>
    <dgm:cxn modelId="{81865911-5F7C-4B80-BA03-E79624877AFE}" type="presParOf" srcId="{B29D940F-7388-D148-9178-A8B13ED067C2}" destId="{E65B79CE-0555-D84B-804D-E42719960BAC}" srcOrd="4" destOrd="0" presId="urn:microsoft.com/office/officeart/2005/8/layout/cycle8"/>
    <dgm:cxn modelId="{87012FE7-6B83-4A0A-9DE2-155B9B9E1EA5}" type="presParOf" srcId="{B29D940F-7388-D148-9178-A8B13ED067C2}" destId="{3E63585C-A36F-7A4C-9329-FBA15BEF32A1}" srcOrd="5" destOrd="0" presId="urn:microsoft.com/office/officeart/2005/8/layout/cycle8"/>
    <dgm:cxn modelId="{2F7B4DE8-5568-4714-ADD3-D67D148E195B}" type="presParOf" srcId="{B29D940F-7388-D148-9178-A8B13ED067C2}" destId="{0B46DF71-F13F-CD47-A93D-FA9DC1961D91}" srcOrd="6" destOrd="0" presId="urn:microsoft.com/office/officeart/2005/8/layout/cycle8"/>
    <dgm:cxn modelId="{757D7316-4D02-46F9-9B5E-C6016E384C3E}" type="presParOf" srcId="{B29D940F-7388-D148-9178-A8B13ED067C2}" destId="{0D3F60F7-4501-0C42-9745-0BAEE8DB8439}" srcOrd="7" destOrd="0" presId="urn:microsoft.com/office/officeart/2005/8/layout/cycle8"/>
    <dgm:cxn modelId="{B24BBD84-8C29-4F72-B3F4-34F7C542E27E}" type="presParOf" srcId="{B29D940F-7388-D148-9178-A8B13ED067C2}" destId="{6BD31E8D-4F56-024D-85B6-2222423B385B}" srcOrd="8" destOrd="0" presId="urn:microsoft.com/office/officeart/2005/8/layout/cycle8"/>
    <dgm:cxn modelId="{E090C134-EC0F-4504-ADF3-7ADB7739127C}" type="presParOf" srcId="{B29D940F-7388-D148-9178-A8B13ED067C2}" destId="{58189868-C3C1-4E42-BC49-7634410256CF}" srcOrd="9" destOrd="0" presId="urn:microsoft.com/office/officeart/2005/8/layout/cycle8"/>
    <dgm:cxn modelId="{26CBD7EE-76F4-43E4-8A72-75F2D0996E6D}" type="presParOf" srcId="{B29D940F-7388-D148-9178-A8B13ED067C2}" destId="{7ACC8DF6-E71F-924A-B945-C92636189118}" srcOrd="10" destOrd="0" presId="urn:microsoft.com/office/officeart/2005/8/layout/cycle8"/>
    <dgm:cxn modelId="{23DF2FEB-2067-4BA1-A235-9F3071773C68}" type="presParOf" srcId="{B29D940F-7388-D148-9178-A8B13ED067C2}" destId="{3EA86008-A0B1-FB41-8B96-1FA06022A056}" srcOrd="11" destOrd="0" presId="urn:microsoft.com/office/officeart/2005/8/layout/cycle8"/>
    <dgm:cxn modelId="{864C5A05-B539-4D67-AFCA-E8D408E77339}" type="presParOf" srcId="{B29D940F-7388-D148-9178-A8B13ED067C2}" destId="{619CA393-F7C9-824F-908F-D980C371FF28}" srcOrd="12" destOrd="0" presId="urn:microsoft.com/office/officeart/2005/8/layout/cycle8"/>
    <dgm:cxn modelId="{FB329221-07FA-49F0-8C33-BC28654BCCB2}" type="presParOf" srcId="{B29D940F-7388-D148-9178-A8B13ED067C2}" destId="{5722AAB5-065B-3443-A55D-74D9317E65AE}" srcOrd="13" destOrd="0" presId="urn:microsoft.com/office/officeart/2005/8/layout/cycle8"/>
    <dgm:cxn modelId="{030DD1BC-7BA8-4F22-BF2C-E198F5F3BF8E}" type="presParOf" srcId="{B29D940F-7388-D148-9178-A8B13ED067C2}" destId="{E0F2DD51-5043-A142-88E3-57D6CB7E9D98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E08E4B-4A65-40C7-A726-56332B992362}">
      <dsp:nvSpPr>
        <dsp:cNvPr id="0" name=""/>
        <dsp:cNvSpPr/>
      </dsp:nvSpPr>
      <dsp:spPr>
        <a:xfrm rot="16200000">
          <a:off x="-1213711" y="1213711"/>
          <a:ext cx="4647293" cy="2219870"/>
        </a:xfrm>
        <a:prstGeom prst="flowChartManualOperation">
          <a:avLst/>
        </a:prstGeom>
        <a:solidFill>
          <a:srgbClr val="003E77"/>
        </a:solidFill>
        <a:ln w="127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6000" tIns="0" rIns="36000" bIns="0" numCol="1" spcCol="1270" anchor="ctr" anchorCtr="0">
          <a:noAutofit/>
        </a:bodyPr>
        <a:lstStyle/>
        <a:p>
          <a:pPr marL="0" lvl="0" indent="0" algn="ctr" defTabSz="4572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prstClr val="white"/>
              </a:solidFill>
              <a:latin typeface="Arial"/>
              <a:ea typeface="+mn-ea"/>
              <a:cs typeface="+mn-cs"/>
            </a:rPr>
            <a:t>Запрещается координация экономической деятельности, если такая координация приводит к:</a:t>
          </a:r>
        </a:p>
      </dsp:txBody>
      <dsp:txXfrm rot="5400000">
        <a:off x="0" y="929459"/>
        <a:ext cx="2219870" cy="278837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ACA057-8E44-7747-AAE7-A1D154239985}">
      <dsp:nvSpPr>
        <dsp:cNvPr id="0" name=""/>
        <dsp:cNvSpPr/>
      </dsp:nvSpPr>
      <dsp:spPr>
        <a:xfrm>
          <a:off x="2630320" y="319300"/>
          <a:ext cx="4126348" cy="4126348"/>
        </a:xfrm>
        <a:prstGeom prst="pie">
          <a:avLst>
            <a:gd name="adj1" fmla="val 16200000"/>
            <a:gd name="adj2" fmla="val 1800000"/>
          </a:avLst>
        </a:prstGeom>
        <a:gradFill flip="none" rotWithShape="1">
          <a:gsLst>
            <a:gs pos="0">
              <a:schemeClr val="accent2">
                <a:lumMod val="40000"/>
                <a:lumOff val="60000"/>
              </a:schemeClr>
            </a:gs>
            <a:gs pos="46000">
              <a:srgbClr val="00A8F1"/>
            </a:gs>
            <a:gs pos="100000">
              <a:schemeClr val="accent2">
                <a:lumMod val="60000"/>
              </a:schemeClr>
            </a:gs>
          </a:gsLst>
          <a:path path="circle">
            <a:fillToRect l="50000" t="130000" r="50000" b="-30000"/>
          </a:path>
          <a:tileRect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Arial" panose="020B0604020202020204" pitchFamily="34" charset="0"/>
              <a:cs typeface="Arial" panose="020B0604020202020204" pitchFamily="34" charset="0"/>
            </a:rPr>
            <a:t>Доля на рынке более 50 %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Arial" panose="020B0604020202020204" pitchFamily="34" charset="0"/>
              <a:cs typeface="Arial" panose="020B0604020202020204" pitchFamily="34" charset="0"/>
            </a:rPr>
            <a:t>(доминирующее положение)</a:t>
          </a:r>
        </a:p>
      </dsp:txBody>
      <dsp:txXfrm>
        <a:off x="4805004" y="1193693"/>
        <a:ext cx="1473696" cy="1228080"/>
      </dsp:txXfrm>
    </dsp:sp>
    <dsp:sp modelId="{E65B79CE-0555-D84B-804D-E42719960BAC}">
      <dsp:nvSpPr>
        <dsp:cNvPr id="0" name=""/>
        <dsp:cNvSpPr/>
      </dsp:nvSpPr>
      <dsp:spPr>
        <a:xfrm>
          <a:off x="2545337" y="466670"/>
          <a:ext cx="4126348" cy="4126348"/>
        </a:xfrm>
        <a:prstGeom prst="pie">
          <a:avLst>
            <a:gd name="adj1" fmla="val 1800000"/>
            <a:gd name="adj2" fmla="val 9000000"/>
          </a:avLst>
        </a:prstGeom>
        <a:gradFill flip="none" rotWithShape="1">
          <a:gsLst>
            <a:gs pos="0">
              <a:schemeClr val="accent6">
                <a:lumMod val="40000"/>
                <a:lumOff val="60000"/>
              </a:schemeClr>
            </a:gs>
            <a:gs pos="46000">
              <a:schemeClr val="accent6">
                <a:lumMod val="95000"/>
                <a:lumOff val="5000"/>
              </a:schemeClr>
            </a:gs>
            <a:gs pos="100000">
              <a:schemeClr val="bg1">
                <a:lumMod val="50000"/>
              </a:schemeClr>
            </a:gs>
          </a:gsLst>
          <a:path path="circle">
            <a:fillToRect l="50000" t="130000" r="50000" b="-30000"/>
          </a:path>
          <a:tileRect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Arial" panose="020B0604020202020204" pitchFamily="34" charset="0"/>
              <a:cs typeface="Arial" panose="020B0604020202020204" pitchFamily="34" charset="0"/>
            </a:rPr>
            <a:t>Доля на рынке 35 – 50 % (может быть признано доминирующим положением)</a:t>
          </a:r>
        </a:p>
      </dsp:txBody>
      <dsp:txXfrm>
        <a:off x="3527801" y="3143884"/>
        <a:ext cx="2210544" cy="1080710"/>
      </dsp:txXfrm>
    </dsp:sp>
    <dsp:sp modelId="{6BD31E8D-4F56-024D-85B6-2222423B385B}">
      <dsp:nvSpPr>
        <dsp:cNvPr id="0" name=""/>
        <dsp:cNvSpPr/>
      </dsp:nvSpPr>
      <dsp:spPr>
        <a:xfrm>
          <a:off x="2460354" y="319300"/>
          <a:ext cx="4126348" cy="4126348"/>
        </a:xfrm>
        <a:prstGeom prst="pie">
          <a:avLst>
            <a:gd name="adj1" fmla="val 9000000"/>
            <a:gd name="adj2" fmla="val 16200000"/>
          </a:avLst>
        </a:prstGeom>
        <a:gradFill flip="none" rotWithShape="1">
          <a:gsLst>
            <a:gs pos="0">
              <a:schemeClr val="bg1">
                <a:lumMod val="95000"/>
              </a:schemeClr>
            </a:gs>
            <a:gs pos="46000">
              <a:schemeClr val="bg1">
                <a:lumMod val="65000"/>
              </a:schemeClr>
            </a:gs>
            <a:gs pos="100000">
              <a:schemeClr val="bg1">
                <a:lumMod val="65000"/>
              </a:schemeClr>
            </a:gs>
          </a:gsLst>
          <a:path path="circle">
            <a:fillToRect l="50000" t="130000" r="50000" b="-30000"/>
          </a:path>
          <a:tileRect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Arial" panose="020B0604020202020204" pitchFamily="34" charset="0"/>
              <a:cs typeface="Arial" panose="020B0604020202020204" pitchFamily="34" charset="0"/>
            </a:rPr>
            <a:t>Доля на рынке менее 35 %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kern="1200" dirty="0">
              <a:latin typeface="Arial" panose="020B0604020202020204" pitchFamily="34" charset="0"/>
              <a:cs typeface="Arial" panose="020B0604020202020204" pitchFamily="34" charset="0"/>
            </a:rPr>
            <a:t>(исключения)</a:t>
          </a:r>
        </a:p>
      </dsp:txBody>
      <dsp:txXfrm>
        <a:off x="2938323" y="1193693"/>
        <a:ext cx="1473696" cy="1228080"/>
      </dsp:txXfrm>
    </dsp:sp>
    <dsp:sp modelId="{619CA393-F7C9-824F-908F-D980C371FF28}">
      <dsp:nvSpPr>
        <dsp:cNvPr id="0" name=""/>
        <dsp:cNvSpPr/>
      </dsp:nvSpPr>
      <dsp:spPr>
        <a:xfrm>
          <a:off x="2375220" y="63860"/>
          <a:ext cx="4637230" cy="4637230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22AAB5-065B-3443-A55D-74D9317E65AE}">
      <dsp:nvSpPr>
        <dsp:cNvPr id="0" name=""/>
        <dsp:cNvSpPr/>
      </dsp:nvSpPr>
      <dsp:spPr>
        <a:xfrm>
          <a:off x="2289896" y="210968"/>
          <a:ext cx="4637230" cy="4637230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F2DD51-5043-A142-88E3-57D6CB7E9D98}">
      <dsp:nvSpPr>
        <dsp:cNvPr id="0" name=""/>
        <dsp:cNvSpPr/>
      </dsp:nvSpPr>
      <dsp:spPr>
        <a:xfrm>
          <a:off x="2204573" y="63860"/>
          <a:ext cx="4637230" cy="4637230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ACA057-8E44-7747-AAE7-A1D154239985}">
      <dsp:nvSpPr>
        <dsp:cNvPr id="0" name=""/>
        <dsp:cNvSpPr/>
      </dsp:nvSpPr>
      <dsp:spPr>
        <a:xfrm>
          <a:off x="2630320" y="319300"/>
          <a:ext cx="4126348" cy="4126348"/>
        </a:xfrm>
        <a:prstGeom prst="pie">
          <a:avLst>
            <a:gd name="adj1" fmla="val 16200000"/>
            <a:gd name="adj2" fmla="val 1800000"/>
          </a:avLst>
        </a:prstGeom>
        <a:gradFill flip="none" rotWithShape="0">
          <a:gsLst>
            <a:gs pos="0">
              <a:srgbClr val="C00000">
                <a:shade val="30000"/>
                <a:satMod val="115000"/>
              </a:srgbClr>
            </a:gs>
            <a:gs pos="50000">
              <a:srgbClr val="C00000">
                <a:shade val="67500"/>
                <a:satMod val="115000"/>
              </a:srgbClr>
            </a:gs>
            <a:gs pos="100000">
              <a:srgbClr val="C00000">
                <a:shade val="100000"/>
                <a:satMod val="115000"/>
              </a:srgbClr>
            </a:gs>
          </a:gsLst>
          <a:path path="circle">
            <a:fillToRect l="50000" t="50000" r="50000" b="50000"/>
          </a:path>
          <a:tileRect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>
              <a:latin typeface="Arial" panose="020B0604020202020204" pitchFamily="34" charset="0"/>
              <a:cs typeface="Arial" panose="020B0604020202020204" pitchFamily="34" charset="0"/>
            </a:rPr>
            <a:t>Рынок запасных частей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>
              <a:latin typeface="Arial" panose="020B0604020202020204" pitchFamily="34" charset="0"/>
              <a:cs typeface="Arial" panose="020B0604020202020204" pitchFamily="34" charset="0"/>
            </a:rPr>
            <a:t>Доля на рынке более 50 %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>
              <a:latin typeface="Arial" panose="020B0604020202020204" pitchFamily="34" charset="0"/>
              <a:cs typeface="Arial" panose="020B0604020202020204" pitchFamily="34" charset="0"/>
            </a:rPr>
            <a:t>(доминирующее положение)</a:t>
          </a:r>
        </a:p>
      </dsp:txBody>
      <dsp:txXfrm>
        <a:off x="4805004" y="1193693"/>
        <a:ext cx="1473696" cy="1228080"/>
      </dsp:txXfrm>
    </dsp:sp>
    <dsp:sp modelId="{E65B79CE-0555-D84B-804D-E42719960BAC}">
      <dsp:nvSpPr>
        <dsp:cNvPr id="0" name=""/>
        <dsp:cNvSpPr/>
      </dsp:nvSpPr>
      <dsp:spPr>
        <a:xfrm>
          <a:off x="2545337" y="466670"/>
          <a:ext cx="4126348" cy="4126348"/>
        </a:xfrm>
        <a:prstGeom prst="pie">
          <a:avLst>
            <a:gd name="adj1" fmla="val 1800000"/>
            <a:gd name="adj2" fmla="val 9000000"/>
          </a:avLst>
        </a:prstGeom>
        <a:gradFill flip="none" rotWithShape="0">
          <a:gsLst>
            <a:gs pos="0">
              <a:srgbClr val="FFC000">
                <a:shade val="30000"/>
                <a:satMod val="115000"/>
              </a:srgbClr>
            </a:gs>
            <a:gs pos="50000">
              <a:srgbClr val="FFC000">
                <a:shade val="67500"/>
                <a:satMod val="115000"/>
              </a:srgbClr>
            </a:gs>
            <a:gs pos="100000">
              <a:srgbClr val="FFC000">
                <a:shade val="100000"/>
                <a:satMod val="115000"/>
              </a:srgbClr>
            </a:gs>
          </a:gsLst>
          <a:path path="circle">
            <a:fillToRect l="50000" t="50000" r="50000" b="50000"/>
          </a:path>
          <a:tileRect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>
              <a:latin typeface="Arial" panose="020B0604020202020204" pitchFamily="34" charset="0"/>
              <a:cs typeface="Arial" panose="020B0604020202020204" pitchFamily="34" charset="0"/>
            </a:rPr>
            <a:t>Рынок услуг (сервис)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>
              <a:latin typeface="Arial" panose="020B0604020202020204" pitchFamily="34" charset="0"/>
              <a:cs typeface="Arial" panose="020B0604020202020204" pitchFamily="34" charset="0"/>
            </a:rPr>
            <a:t>Доля на рынке 35 – 50 % (может быть признано доминирующим положением)</a:t>
          </a:r>
        </a:p>
      </dsp:txBody>
      <dsp:txXfrm>
        <a:off x="3527801" y="3143884"/>
        <a:ext cx="2210544" cy="1080710"/>
      </dsp:txXfrm>
    </dsp:sp>
    <dsp:sp modelId="{6BD31E8D-4F56-024D-85B6-2222423B385B}">
      <dsp:nvSpPr>
        <dsp:cNvPr id="0" name=""/>
        <dsp:cNvSpPr/>
      </dsp:nvSpPr>
      <dsp:spPr>
        <a:xfrm>
          <a:off x="2460354" y="319300"/>
          <a:ext cx="4126348" cy="4126348"/>
        </a:xfrm>
        <a:prstGeom prst="pie">
          <a:avLst>
            <a:gd name="adj1" fmla="val 9000000"/>
            <a:gd name="adj2" fmla="val 16200000"/>
          </a:avLst>
        </a:prstGeom>
        <a:gradFill flip="none" rotWithShape="0">
          <a:gsLst>
            <a:gs pos="0">
              <a:srgbClr val="00B050">
                <a:shade val="30000"/>
                <a:satMod val="115000"/>
              </a:srgbClr>
            </a:gs>
            <a:gs pos="50000">
              <a:srgbClr val="00B050">
                <a:shade val="67500"/>
                <a:satMod val="115000"/>
              </a:srgbClr>
            </a:gs>
            <a:gs pos="100000">
              <a:srgbClr val="00B050">
                <a:shade val="100000"/>
                <a:satMod val="115000"/>
              </a:srgbClr>
            </a:gs>
          </a:gsLst>
          <a:path path="circle">
            <a:fillToRect l="50000" t="50000" r="50000" b="50000"/>
          </a:path>
          <a:tileRect/>
        </a:gra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>
              <a:latin typeface="Arial" panose="020B0604020202020204" pitchFamily="34" charset="0"/>
              <a:cs typeface="Arial" panose="020B0604020202020204" pitchFamily="34" charset="0"/>
            </a:rPr>
            <a:t>Рынок товаров</a:t>
          </a:r>
          <a:endParaRPr lang="de-DE" sz="1300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300" kern="1200" dirty="0">
              <a:latin typeface="Arial" panose="020B0604020202020204" pitchFamily="34" charset="0"/>
              <a:cs typeface="Arial" panose="020B0604020202020204" pitchFamily="34" charset="0"/>
            </a:rPr>
            <a:t>Доля на рынке менее 35 %</a:t>
          </a:r>
        </a:p>
      </dsp:txBody>
      <dsp:txXfrm>
        <a:off x="2938323" y="1193693"/>
        <a:ext cx="1473696" cy="1228080"/>
      </dsp:txXfrm>
    </dsp:sp>
    <dsp:sp modelId="{619CA393-F7C9-824F-908F-D980C371FF28}">
      <dsp:nvSpPr>
        <dsp:cNvPr id="0" name=""/>
        <dsp:cNvSpPr/>
      </dsp:nvSpPr>
      <dsp:spPr>
        <a:xfrm>
          <a:off x="2375220" y="63860"/>
          <a:ext cx="4637230" cy="4637230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722AAB5-065B-3443-A55D-74D9317E65AE}">
      <dsp:nvSpPr>
        <dsp:cNvPr id="0" name=""/>
        <dsp:cNvSpPr/>
      </dsp:nvSpPr>
      <dsp:spPr>
        <a:xfrm>
          <a:off x="2289896" y="210968"/>
          <a:ext cx="4637230" cy="4637230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F2DD51-5043-A142-88E3-57D6CB7E9D98}">
      <dsp:nvSpPr>
        <dsp:cNvPr id="0" name=""/>
        <dsp:cNvSpPr/>
      </dsp:nvSpPr>
      <dsp:spPr>
        <a:xfrm>
          <a:off x="2204573" y="63860"/>
          <a:ext cx="4637230" cy="4637230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7607" y="1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5E9F18-C283-47BD-9918-FD43FE2310B2}" type="datetimeFigureOut">
              <a:rPr lang="en-GB" smtClean="0"/>
              <a:t>13/04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7317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7607" y="9377317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D72833-045F-45D7-8BD1-FB860B501747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362112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C19C67-C2D1-415A-A897-389DEA619DA1}" type="datetimeFigureOut">
              <a:rPr lang="en-US" smtClean="0"/>
              <a:t>4/13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73063" y="1233488"/>
            <a:ext cx="5922962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51220"/>
            <a:ext cx="533527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889938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377318"/>
            <a:ext cx="2889938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932FF9-D65E-48B8-8350-A4E5CEF95CB7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933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3063" y="1233488"/>
            <a:ext cx="5922962" cy="33321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2DACE3-9C2A-430D-8644-DDAB1ADCDA51}" type="slidenum">
              <a:rPr lang="de-DE" smtClean="0">
                <a:solidFill>
                  <a:prstClr val="black"/>
                </a:solidFill>
              </a:rPr>
              <a:pPr/>
              <a:t>16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3267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73063" y="1233488"/>
            <a:ext cx="5922962" cy="33321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2DACE3-9C2A-430D-8644-DDAB1ADCDA51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39232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3063" y="1233488"/>
            <a:ext cx="5922962" cy="33321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2DACE3-9C2A-430D-8644-DDAB1ADCDA51}" type="slidenum">
              <a:rPr lang="de-DE" smtClean="0">
                <a:solidFill>
                  <a:prstClr val="black"/>
                </a:solidFill>
              </a:rPr>
              <a:pPr/>
              <a:t>17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3267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3063" y="1233488"/>
            <a:ext cx="5922962" cy="33321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2DACE3-9C2A-430D-8644-DDAB1ADCDA51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63267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3063" y="1233488"/>
            <a:ext cx="5922962" cy="33321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2DACE3-9C2A-430D-8644-DDAB1ADCDA51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63267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3063" y="1233488"/>
            <a:ext cx="5922962" cy="33321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2DACE3-9C2A-430D-8644-DDAB1ADCDA51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63267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3063" y="1233488"/>
            <a:ext cx="5922962" cy="33321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2DACE3-9C2A-430D-8644-DDAB1ADCDA51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63267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863" y="739775"/>
            <a:ext cx="6583362" cy="37036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2DACE3-9C2A-430D-8644-DDAB1ADCDA51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63267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863" y="739775"/>
            <a:ext cx="6583362" cy="37036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2DACE3-9C2A-430D-8644-DDAB1ADCDA51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63267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73063" y="1233488"/>
            <a:ext cx="5922962" cy="333216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2DACE3-9C2A-430D-8644-DDAB1ADCDA51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139232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3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7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3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7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1522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8" imgH="338" progId="TCLayout.ActiveDocument.1">
                  <p:embed/>
                </p:oleObj>
              </mc:Choice>
              <mc:Fallback>
                <p:oleObj name="think-cell Folie" r:id="rId3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C9A0AC49-C9B3-4EB9-994D-CE55B551CC55}"/>
              </a:ext>
            </a:extLst>
          </p:cNvPr>
          <p:cNvSpPr/>
          <p:nvPr userDrawn="1"/>
        </p:nvSpPr>
        <p:spPr>
          <a:xfrm>
            <a:off x="4" y="-1"/>
            <a:ext cx="12192000" cy="343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4" y="1906948"/>
            <a:ext cx="5136000" cy="612001"/>
          </a:xfrm>
        </p:spPr>
        <p:txBody>
          <a:bodyPr wrap="none" anchor="t">
            <a:noAutofit/>
          </a:bodyPr>
          <a:lstStyle>
            <a:lvl1pPr algn="l">
              <a:lnSpc>
                <a:spcPct val="100000"/>
              </a:lnSpc>
              <a:defRPr sz="3400" b="1" spc="12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eiten </a:t>
            </a:r>
            <a:br>
              <a:rPr lang="en-US" dirty="0"/>
            </a:br>
            <a:r>
              <a:rPr lang="en-US" dirty="0"/>
              <a:t>Burkhardt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A8AA797-3826-4F4D-8515-0918A91F815D}"/>
              </a:ext>
            </a:extLst>
          </p:cNvPr>
          <p:cNvSpPr/>
          <p:nvPr userDrawn="1"/>
        </p:nvSpPr>
        <p:spPr>
          <a:xfrm>
            <a:off x="720000" y="1618952"/>
            <a:ext cx="5400000" cy="9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bg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56B483E-C980-462D-97DC-55C047CC1931}"/>
              </a:ext>
            </a:extLst>
          </p:cNvPr>
          <p:cNvSpPr/>
          <p:nvPr userDrawn="1"/>
        </p:nvSpPr>
        <p:spPr>
          <a:xfrm>
            <a:off x="4" y="3429000"/>
            <a:ext cx="8784000" cy="900000"/>
          </a:xfrm>
          <a:prstGeom prst="rect">
            <a:avLst/>
          </a:prstGeom>
          <a:solidFill>
            <a:srgbClr val="9C9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latin typeface="+mj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004" y="3429003"/>
            <a:ext cx="5136000" cy="900001"/>
          </a:xfrm>
        </p:spPr>
        <p:txBody>
          <a:bodyPr wrap="none" tIns="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cap="none" spc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Datum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20729" y="4870454"/>
            <a:ext cx="5167313" cy="1027113"/>
          </a:xfrm>
        </p:spPr>
        <p:txBody>
          <a:bodyPr/>
          <a:lstStyle>
            <a:lvl1pPr>
              <a:defRPr b="0" i="0" kern="0" spc="0" baseline="0"/>
            </a:lvl1pPr>
            <a:lvl2pPr>
              <a:defRPr b="0" i="0" kern="0" spc="0" baseline="0"/>
            </a:lvl2pPr>
            <a:lvl3pPr>
              <a:defRPr b="0" i="0" kern="0" spc="0" baseline="0"/>
            </a:lvl3pPr>
            <a:lvl4pPr>
              <a:defRPr b="0" i="0" kern="0" spc="0" baseline="0"/>
            </a:lvl4pPr>
            <a:lvl5pPr>
              <a:defRPr b="0" i="0" kern="0" spc="0" baseline="0"/>
            </a:lvl5pPr>
          </a:lstStyle>
          <a:p>
            <a:pPr lvl="0"/>
            <a:r>
              <a:rPr lang="de-DE" dirty="0"/>
              <a:t>Referent/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79758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latzhalter 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3" y="1655999"/>
            <a:ext cx="10751987" cy="414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60158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68867" y="1458913"/>
            <a:ext cx="10272184" cy="4464050"/>
          </a:xfrm>
          <a:prstGeom prst="rect">
            <a:avLst/>
          </a:prstGeom>
        </p:spPr>
        <p:txBody>
          <a:bodyPr/>
          <a:lstStyle>
            <a:lvl1pPr marL="266700" indent="-266700">
              <a:lnSpc>
                <a:spcPct val="130000"/>
              </a:lnSpc>
              <a:spcBef>
                <a:spcPts val="600"/>
              </a:spcBef>
              <a:buClr>
                <a:srgbClr val="13315E"/>
              </a:buClr>
              <a:buFont typeface="Wingdings" panose="05000000000000000000" pitchFamily="2" charset="2"/>
              <a:buChar char="§"/>
              <a:defRPr sz="24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41338" indent="-274638">
              <a:lnSpc>
                <a:spcPct val="130000"/>
              </a:lnSpc>
              <a:spcBef>
                <a:spcPts val="600"/>
              </a:spcBef>
              <a:buClr>
                <a:srgbClr val="13315E"/>
              </a:buClr>
              <a:buFont typeface="Wingdings" panose="05000000000000000000" pitchFamily="2" charset="2"/>
              <a:buChar char="§"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08038" indent="-266700">
              <a:lnSpc>
                <a:spcPct val="130000"/>
              </a:lnSpc>
              <a:spcBef>
                <a:spcPts val="600"/>
              </a:spcBef>
              <a:buClr>
                <a:srgbClr val="13315E"/>
              </a:buClr>
              <a:buFont typeface="Symbol" panose="05050102010706020507" pitchFamily="18" charset="2"/>
              <a:buChar char="-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4738" indent="-266700">
              <a:lnSpc>
                <a:spcPct val="130000"/>
              </a:lnSpc>
              <a:spcBef>
                <a:spcPts val="600"/>
              </a:spcBef>
              <a:buClr>
                <a:srgbClr val="13315E"/>
              </a:buClr>
              <a:buFont typeface="Symbol" panose="05050102010706020507" pitchFamily="18" charset="2"/>
              <a:buChar char="-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41438" indent="-266700">
              <a:buClr>
                <a:srgbClr val="13315E"/>
              </a:buClr>
              <a:buFont typeface="Symbol" panose="05050102010706020507" pitchFamily="18" charset="2"/>
              <a:buChar char="-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 dirty="0"/>
              <a:t>Editing Text master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pic>
        <p:nvPicPr>
          <p:cNvPr id="12" name="Picture 4" descr="C:\Users\ln\Desktop\PPT_Vorlage_Angebote2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41" b="81847"/>
          <a:stretch/>
        </p:blipFill>
        <p:spPr bwMode="auto">
          <a:xfrm>
            <a:off x="1" y="1124744"/>
            <a:ext cx="12192001" cy="239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682751" y="342181"/>
            <a:ext cx="10286933" cy="56207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1040549" y="307410"/>
            <a:ext cx="8447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7E5629-5E8C-4ACA-B14E-CD150F30CCDD}" type="slidenum">
              <a:rPr lang="en-GB" smtClean="0">
                <a:solidFill>
                  <a:prstClr val="black"/>
                </a:solidFill>
              </a:rPr>
              <a:pPr/>
              <a:t>‹Nr.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978404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277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8" imgH="338" progId="TCLayout.ActiveDocument.1">
                  <p:embed/>
                </p:oleObj>
              </mc:Choice>
              <mc:Fallback>
                <p:oleObj name="think-cell Folie" r:id="rId3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C9A0AC49-C9B3-4EB9-994D-CE55B551CC55}"/>
              </a:ext>
            </a:extLst>
          </p:cNvPr>
          <p:cNvSpPr/>
          <p:nvPr userDrawn="1"/>
        </p:nvSpPr>
        <p:spPr>
          <a:xfrm>
            <a:off x="4" y="-1"/>
            <a:ext cx="12192000" cy="343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4" y="1906948"/>
            <a:ext cx="5136000" cy="612001"/>
          </a:xfrm>
        </p:spPr>
        <p:txBody>
          <a:bodyPr wrap="none" anchor="t">
            <a:noAutofit/>
          </a:bodyPr>
          <a:lstStyle>
            <a:lvl1pPr algn="l">
              <a:lnSpc>
                <a:spcPct val="100000"/>
              </a:lnSpc>
              <a:defRPr sz="3400" b="1" spc="12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eiten </a:t>
            </a:r>
            <a:br>
              <a:rPr lang="en-US" dirty="0"/>
            </a:br>
            <a:r>
              <a:rPr lang="en-US" dirty="0"/>
              <a:t>Burkhardt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A8AA797-3826-4F4D-8515-0918A91F815D}"/>
              </a:ext>
            </a:extLst>
          </p:cNvPr>
          <p:cNvSpPr/>
          <p:nvPr userDrawn="1"/>
        </p:nvSpPr>
        <p:spPr>
          <a:xfrm>
            <a:off x="720000" y="1618952"/>
            <a:ext cx="5400000" cy="9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56B483E-C980-462D-97DC-55C047CC1931}"/>
              </a:ext>
            </a:extLst>
          </p:cNvPr>
          <p:cNvSpPr/>
          <p:nvPr userDrawn="1"/>
        </p:nvSpPr>
        <p:spPr>
          <a:xfrm>
            <a:off x="4" y="3429000"/>
            <a:ext cx="8784000" cy="900000"/>
          </a:xfrm>
          <a:prstGeom prst="rect">
            <a:avLst/>
          </a:prstGeom>
          <a:solidFill>
            <a:srgbClr val="9C9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004" y="3429003"/>
            <a:ext cx="5136000" cy="900001"/>
          </a:xfrm>
        </p:spPr>
        <p:txBody>
          <a:bodyPr wrap="none" tIns="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cap="none" spc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Datum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20729" y="4870454"/>
            <a:ext cx="5167313" cy="1027113"/>
          </a:xfrm>
        </p:spPr>
        <p:txBody>
          <a:bodyPr/>
          <a:lstStyle>
            <a:lvl1pPr>
              <a:defRPr b="0" i="0" kern="0" spc="0" baseline="0"/>
            </a:lvl1pPr>
            <a:lvl2pPr>
              <a:defRPr b="0" i="0" kern="0" spc="0" baseline="0"/>
            </a:lvl2pPr>
            <a:lvl3pPr>
              <a:defRPr b="0" i="0" kern="0" spc="0" baseline="0"/>
            </a:lvl3pPr>
            <a:lvl4pPr>
              <a:defRPr b="0" i="0" kern="0" spc="0" baseline="0"/>
            </a:lvl4pPr>
            <a:lvl5pPr>
              <a:defRPr b="0" i="0" kern="0" spc="0" baseline="0"/>
            </a:lvl5pPr>
          </a:lstStyle>
          <a:p>
            <a:pPr lvl="0"/>
            <a:r>
              <a:rPr lang="de-DE" dirty="0"/>
              <a:t>Referent/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044040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2384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8" imgH="338" progId="TCLayout.ActiveDocument.1">
                  <p:embed/>
                </p:oleObj>
              </mc:Choice>
              <mc:Fallback>
                <p:oleObj name="think-cell Folie" r:id="rId3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C9A0AC49-C9B3-4EB9-994D-CE55B551CC55}"/>
              </a:ext>
            </a:extLst>
          </p:cNvPr>
          <p:cNvSpPr/>
          <p:nvPr userDrawn="1"/>
        </p:nvSpPr>
        <p:spPr>
          <a:xfrm>
            <a:off x="4" y="-1"/>
            <a:ext cx="12192000" cy="34344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4" y="1906948"/>
            <a:ext cx="5136000" cy="612001"/>
          </a:xfrm>
        </p:spPr>
        <p:txBody>
          <a:bodyPr wrap="none" anchor="t">
            <a:noAutofit/>
          </a:bodyPr>
          <a:lstStyle>
            <a:lvl1pPr algn="l">
              <a:lnSpc>
                <a:spcPct val="100000"/>
              </a:lnSpc>
              <a:defRPr sz="3400" b="1" spc="12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apiteltrenner</a:t>
            </a:r>
            <a:endParaRPr lang="en-US" dirty="0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A8AA797-3826-4F4D-8515-0918A91F815D}"/>
              </a:ext>
            </a:extLst>
          </p:cNvPr>
          <p:cNvSpPr/>
          <p:nvPr userDrawn="1"/>
        </p:nvSpPr>
        <p:spPr>
          <a:xfrm>
            <a:off x="720000" y="1618952"/>
            <a:ext cx="5400000" cy="9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56B483E-C980-462D-97DC-55C047CC1931}"/>
              </a:ext>
            </a:extLst>
          </p:cNvPr>
          <p:cNvSpPr/>
          <p:nvPr userDrawn="1"/>
        </p:nvSpPr>
        <p:spPr>
          <a:xfrm>
            <a:off x="4" y="3429000"/>
            <a:ext cx="8784000" cy="90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004" y="3429003"/>
            <a:ext cx="5136000" cy="900001"/>
          </a:xfrm>
        </p:spPr>
        <p:txBody>
          <a:bodyPr wrap="none" tIns="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cap="none" spc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Untertitel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41355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6003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4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200"/>
              </a:lnSpc>
            </a:pPr>
            <a:endParaRPr lang="de-DE" sz="2400" b="1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F33B075-CEB5-4EAB-8734-48D3EF22973E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783638" y="0"/>
            <a:ext cx="3408362" cy="6858000"/>
          </a:xfrm>
          <a:solidFill>
            <a:schemeClr val="accent5"/>
          </a:solidFill>
        </p:spPr>
        <p:txBody>
          <a:bodyPr tIns="0" bIns="648000" anchor="ctr"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7DBCBE2-4BD6-4072-885D-41F9AE6D2D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999" y="1763999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I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18050635-1AE6-44ED-AF07-F716D0682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6984001" cy="792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5F206850-7AF5-47C4-B54C-636F17582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294007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II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B4EDA23C-7654-4389-A189-2A223294E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999" y="2824019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III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C27E598-4264-4D34-8C58-D6E049D80E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3354027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IV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F0B8657D-338A-4825-8BBB-B7608139A3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9999" y="3884031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FD29DAD5-12A9-4C52-8136-A83681CEFC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9999" y="4414039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I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57871947-95FF-486C-9C4C-1E842089D8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999" y="4944052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II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ADAF4D09-4685-4C29-976D-379E0BFCAE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5904" y="176399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Textmasterformat bearbeiten</a:t>
            </a:r>
          </a:p>
        </p:txBody>
      </p:sp>
      <p:sp>
        <p:nvSpPr>
          <p:cNvPr id="24" name="Textplatzhalter 20">
            <a:extLst>
              <a:ext uri="{FF2B5EF4-FFF2-40B4-BE49-F238E27FC236}">
                <a16:creationId xmlns:a16="http://schemas.microsoft.com/office/drawing/2014/main" id="{D5304A5C-B4F3-4438-9E54-00137B9241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5904" y="2294007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5" name="Textplatzhalter 20">
            <a:extLst>
              <a:ext uri="{FF2B5EF4-FFF2-40B4-BE49-F238E27FC236}">
                <a16:creationId xmlns:a16="http://schemas.microsoft.com/office/drawing/2014/main" id="{B76EF237-509B-4FD6-BDC1-C11BA3EF2C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85904" y="282401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Textplatzhalter 20">
            <a:extLst>
              <a:ext uri="{FF2B5EF4-FFF2-40B4-BE49-F238E27FC236}">
                <a16:creationId xmlns:a16="http://schemas.microsoft.com/office/drawing/2014/main" id="{724E0103-4AAE-4272-B0F4-B3876221FC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5904" y="3354027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7" name="Textplatzhalter 20">
            <a:extLst>
              <a:ext uri="{FF2B5EF4-FFF2-40B4-BE49-F238E27FC236}">
                <a16:creationId xmlns:a16="http://schemas.microsoft.com/office/drawing/2014/main" id="{29201282-4D9C-4360-B2B3-0C4772A0428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5904" y="3884031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8" name="Textplatzhalter 20">
            <a:extLst>
              <a:ext uri="{FF2B5EF4-FFF2-40B4-BE49-F238E27FC236}">
                <a16:creationId xmlns:a16="http://schemas.microsoft.com/office/drawing/2014/main" id="{A32C05CD-960E-4F01-A1CB-CBA9F0C12F9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5904" y="441403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9" name="Textplatzhalter 20">
            <a:extLst>
              <a:ext uri="{FF2B5EF4-FFF2-40B4-BE49-F238E27FC236}">
                <a16:creationId xmlns:a16="http://schemas.microsoft.com/office/drawing/2014/main" id="{5644FC63-1A5A-41B0-878B-4988056C545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5904" y="4944052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0" name="Textplatzhalter 20">
            <a:extLst>
              <a:ext uri="{FF2B5EF4-FFF2-40B4-BE49-F238E27FC236}">
                <a16:creationId xmlns:a16="http://schemas.microsoft.com/office/drawing/2014/main" id="{84412FD8-546C-4BAE-B20E-89DC4F387C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93600" y="176399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32" name="Textplatzhalter 20">
            <a:extLst>
              <a:ext uri="{FF2B5EF4-FFF2-40B4-BE49-F238E27FC236}">
                <a16:creationId xmlns:a16="http://schemas.microsoft.com/office/drawing/2014/main" id="{8842EE9F-92C2-4E41-8B31-C8E83EBA2E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93600" y="2294007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33" name="Textplatzhalter 20">
            <a:extLst>
              <a:ext uri="{FF2B5EF4-FFF2-40B4-BE49-F238E27FC236}">
                <a16:creationId xmlns:a16="http://schemas.microsoft.com/office/drawing/2014/main" id="{0F90BCA9-CB13-443E-A9D6-ACB1B6E29E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93600" y="282401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34" name="Textplatzhalter 20">
            <a:extLst>
              <a:ext uri="{FF2B5EF4-FFF2-40B4-BE49-F238E27FC236}">
                <a16:creationId xmlns:a16="http://schemas.microsoft.com/office/drawing/2014/main" id="{33231675-FAFD-4D47-B349-E3DE2C5882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93600" y="3354027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35" name="Textplatzhalter 20">
            <a:extLst>
              <a:ext uri="{FF2B5EF4-FFF2-40B4-BE49-F238E27FC236}">
                <a16:creationId xmlns:a16="http://schemas.microsoft.com/office/drawing/2014/main" id="{C3CFDF56-750F-4E20-AED0-847DA36C08D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3600" y="3884031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36" name="Textplatzhalter 20">
            <a:extLst>
              <a:ext uri="{FF2B5EF4-FFF2-40B4-BE49-F238E27FC236}">
                <a16:creationId xmlns:a16="http://schemas.microsoft.com/office/drawing/2014/main" id="{94267A60-874B-4852-BD2E-EBDDF4592FC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93600" y="441403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</a:t>
            </a:r>
          </a:p>
        </p:txBody>
      </p:sp>
      <p:sp>
        <p:nvSpPr>
          <p:cNvPr id="37" name="Textplatzhalter 20">
            <a:extLst>
              <a:ext uri="{FF2B5EF4-FFF2-40B4-BE49-F238E27FC236}">
                <a16:creationId xmlns:a16="http://schemas.microsoft.com/office/drawing/2014/main" id="{E008922D-28D6-4155-84B4-B8F84F61F8B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93600" y="4944052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</a:t>
            </a:r>
          </a:p>
        </p:txBody>
      </p:sp>
      <p:pic>
        <p:nvPicPr>
          <p:cNvPr id="47" name="Grafik 4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3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3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4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97469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7DBCBE2-4BD6-4072-885D-41F9AE6D2D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999" y="1763999"/>
            <a:ext cx="410400" cy="410400"/>
          </a:xfrm>
          <a:solidFill>
            <a:schemeClr val="accent1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18050635-1AE6-44ED-AF07-F716D0682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6984001" cy="792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5F206850-7AF5-47C4-B54C-636F17582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294007"/>
            <a:ext cx="410400" cy="410400"/>
          </a:xfrm>
          <a:solidFill>
            <a:srgbClr val="00899C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I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B4EDA23C-7654-4389-A189-2A223294E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999" y="2824019"/>
            <a:ext cx="410400" cy="410400"/>
          </a:xfrm>
          <a:solidFill>
            <a:srgbClr val="4F81BD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II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C27E598-4264-4D34-8C58-D6E049D80E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3354027"/>
            <a:ext cx="410400" cy="410400"/>
          </a:xfrm>
          <a:solidFill>
            <a:schemeClr val="accent4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V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F0B8657D-338A-4825-8BBB-B7608139A3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9999" y="3884031"/>
            <a:ext cx="410400" cy="410400"/>
          </a:xfrm>
          <a:solidFill>
            <a:schemeClr val="accent5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FD29DAD5-12A9-4C52-8136-A83681CEFC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9999" y="4414039"/>
            <a:ext cx="410400" cy="410400"/>
          </a:xfrm>
          <a:solidFill>
            <a:schemeClr val="accent6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I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57871947-95FF-486C-9C4C-1E842089D8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999" y="4944052"/>
            <a:ext cx="410400" cy="410400"/>
          </a:xfrm>
          <a:solidFill>
            <a:schemeClr val="accent6">
              <a:lumMod val="50000"/>
            </a:schemeClr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II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ADAF4D09-4685-4C29-976D-379E0BFCAE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5904" y="176399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4" name="Textplatzhalter 20">
            <a:extLst>
              <a:ext uri="{FF2B5EF4-FFF2-40B4-BE49-F238E27FC236}">
                <a16:creationId xmlns:a16="http://schemas.microsoft.com/office/drawing/2014/main" id="{D5304A5C-B4F3-4438-9E54-00137B9241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5904" y="2294007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5" name="Textplatzhalter 20">
            <a:extLst>
              <a:ext uri="{FF2B5EF4-FFF2-40B4-BE49-F238E27FC236}">
                <a16:creationId xmlns:a16="http://schemas.microsoft.com/office/drawing/2014/main" id="{B76EF237-509B-4FD6-BDC1-C11BA3EF2C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85904" y="282401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Textplatzhalter 20">
            <a:extLst>
              <a:ext uri="{FF2B5EF4-FFF2-40B4-BE49-F238E27FC236}">
                <a16:creationId xmlns:a16="http://schemas.microsoft.com/office/drawing/2014/main" id="{724E0103-4AAE-4272-B0F4-B3876221FC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5904" y="3354027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7" name="Textplatzhalter 20">
            <a:extLst>
              <a:ext uri="{FF2B5EF4-FFF2-40B4-BE49-F238E27FC236}">
                <a16:creationId xmlns:a16="http://schemas.microsoft.com/office/drawing/2014/main" id="{29201282-4D9C-4360-B2B3-0C4772A0428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5904" y="3884031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8" name="Textplatzhalter 20">
            <a:extLst>
              <a:ext uri="{FF2B5EF4-FFF2-40B4-BE49-F238E27FC236}">
                <a16:creationId xmlns:a16="http://schemas.microsoft.com/office/drawing/2014/main" id="{A32C05CD-960E-4F01-A1CB-CBA9F0C12F9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5904" y="441403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9" name="Textplatzhalter 20">
            <a:extLst>
              <a:ext uri="{FF2B5EF4-FFF2-40B4-BE49-F238E27FC236}">
                <a16:creationId xmlns:a16="http://schemas.microsoft.com/office/drawing/2014/main" id="{5644FC63-1A5A-41B0-878B-4988056C545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5904" y="4944052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0" name="Textplatzhalter 20">
            <a:extLst>
              <a:ext uri="{FF2B5EF4-FFF2-40B4-BE49-F238E27FC236}">
                <a16:creationId xmlns:a16="http://schemas.microsoft.com/office/drawing/2014/main" id="{84412FD8-546C-4BAE-B20E-89DC4F387C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93600" y="176399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32" name="Textplatzhalter 20">
            <a:extLst>
              <a:ext uri="{FF2B5EF4-FFF2-40B4-BE49-F238E27FC236}">
                <a16:creationId xmlns:a16="http://schemas.microsoft.com/office/drawing/2014/main" id="{8842EE9F-92C2-4E41-8B31-C8E83EBA2E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93600" y="2294007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33" name="Textplatzhalter 20">
            <a:extLst>
              <a:ext uri="{FF2B5EF4-FFF2-40B4-BE49-F238E27FC236}">
                <a16:creationId xmlns:a16="http://schemas.microsoft.com/office/drawing/2014/main" id="{0F90BCA9-CB13-443E-A9D6-ACB1B6E29E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93600" y="282401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34" name="Textplatzhalter 20">
            <a:extLst>
              <a:ext uri="{FF2B5EF4-FFF2-40B4-BE49-F238E27FC236}">
                <a16:creationId xmlns:a16="http://schemas.microsoft.com/office/drawing/2014/main" id="{33231675-FAFD-4D47-B349-E3DE2C5882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93600" y="3354027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35" name="Textplatzhalter 20">
            <a:extLst>
              <a:ext uri="{FF2B5EF4-FFF2-40B4-BE49-F238E27FC236}">
                <a16:creationId xmlns:a16="http://schemas.microsoft.com/office/drawing/2014/main" id="{C3CFDF56-750F-4E20-AED0-847DA36C08D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3600" y="3884031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36" name="Textplatzhalter 20">
            <a:extLst>
              <a:ext uri="{FF2B5EF4-FFF2-40B4-BE49-F238E27FC236}">
                <a16:creationId xmlns:a16="http://schemas.microsoft.com/office/drawing/2014/main" id="{94267A60-874B-4852-BD2E-EBDDF4592FC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93600" y="441403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</a:t>
            </a:r>
          </a:p>
        </p:txBody>
      </p:sp>
      <p:sp>
        <p:nvSpPr>
          <p:cNvPr id="37" name="Textplatzhalter 20">
            <a:extLst>
              <a:ext uri="{FF2B5EF4-FFF2-40B4-BE49-F238E27FC236}">
                <a16:creationId xmlns:a16="http://schemas.microsoft.com/office/drawing/2014/main" id="{E008922D-28D6-4155-84B4-B8F84F61F8B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93600" y="4944052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</a:t>
            </a:r>
          </a:p>
        </p:txBody>
      </p:sp>
      <p:pic>
        <p:nvPicPr>
          <p:cNvPr id="47" name="Grafik 4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sp>
        <p:nvSpPr>
          <p:cNvPr id="3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3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4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3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426402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latzhalter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0" y="1655999"/>
            <a:ext cx="5194784" cy="4140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35ACC148-410C-4F10-8110-9462A4FDE40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92919" y="1655999"/>
            <a:ext cx="5194784" cy="4140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64224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content 2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20000" y="1655999"/>
            <a:ext cx="4140000" cy="4140000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>
              <a:lnSpc>
                <a:spcPct val="150000"/>
              </a:lnSpc>
              <a:defRPr sz="1700"/>
            </a:lvl4pPr>
            <a:lvl5pPr>
              <a:lnSpc>
                <a:spcPct val="150000"/>
              </a:lnSpc>
              <a:defRPr sz="17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7BA4690-8A97-4744-8009-CC185E1981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BEITEN BURKHARDT | 28/05/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801FC98-A3D8-45C1-8E79-A0AF72AA5A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3E77"/>
                </a:solidFill>
              </a:rPr>
              <a:t>| Title of Presentation OR Event</a:t>
            </a:r>
            <a:endParaRPr lang="de-DE" dirty="0">
              <a:solidFill>
                <a:srgbClr val="003E77"/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86E9BDB6-EFB2-449E-BAA5-F7E864ECD6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35ACC148-410C-4F10-8110-9462A4FDE40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238139" y="1655999"/>
            <a:ext cx="6249568" cy="4140000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>
              <a:lnSpc>
                <a:spcPct val="150000"/>
              </a:lnSpc>
              <a:defRPr sz="1700"/>
            </a:lvl4pPr>
            <a:lvl5pPr>
              <a:lnSpc>
                <a:spcPct val="150000"/>
              </a:lnSpc>
              <a:defRPr sz="17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556721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3" y="1655999"/>
            <a:ext cx="10751987" cy="4140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</a:t>
            </a:r>
            <a:r>
              <a:rPr lang="ru-RU" dirty="0">
                <a:solidFill>
                  <a:srgbClr val="003E77"/>
                </a:solidFill>
              </a:rPr>
              <a:t>15</a:t>
            </a:r>
            <a:r>
              <a:rPr lang="de-DE" dirty="0">
                <a:solidFill>
                  <a:srgbClr val="003E77"/>
                </a:solidFill>
              </a:rPr>
              <a:t>.</a:t>
            </a:r>
            <a:r>
              <a:rPr lang="ru-RU" dirty="0">
                <a:solidFill>
                  <a:srgbClr val="003E77"/>
                </a:solidFill>
              </a:rPr>
              <a:t>12</a:t>
            </a:r>
            <a:r>
              <a:rPr lang="de-DE" dirty="0">
                <a:solidFill>
                  <a:srgbClr val="003E77"/>
                </a:solidFill>
              </a:rPr>
              <a:t>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</a:t>
            </a:r>
            <a:r>
              <a:rPr lang="ru-RU" dirty="0">
                <a:solidFill>
                  <a:srgbClr val="003E77"/>
                </a:solidFill>
              </a:rPr>
              <a:t>Антимонопольное регулирование в Российской Федерации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59980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24114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anzseitig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D573414-ACA0-416B-B1E8-5593828FCBC7}"/>
              </a:ext>
            </a:extLst>
          </p:cNvPr>
          <p:cNvSpPr/>
          <p:nvPr userDrawn="1"/>
        </p:nvSpPr>
        <p:spPr>
          <a:xfrm>
            <a:off x="4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37" name="Titel 36">
            <a:extLst>
              <a:ext uri="{FF2B5EF4-FFF2-40B4-BE49-F238E27FC236}">
                <a16:creationId xmlns:a16="http://schemas.microsoft.com/office/drawing/2014/main" id="{56E0FA34-0AF2-4B8E-9790-24EC1B2FE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E550506-C36C-49C2-82D1-C16C08BCB04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9292" y="1656920"/>
            <a:ext cx="10751987" cy="4140000"/>
          </a:xfrm>
        </p:spPr>
        <p:txBody>
          <a:bodyPr/>
          <a:lstStyle>
            <a:lvl1pPr algn="l">
              <a:spcAft>
                <a:spcPts val="1200"/>
              </a:spcAft>
              <a:defRPr sz="3600" b="0" i="1" cap="none" baseline="0">
                <a:solidFill>
                  <a:schemeClr val="bg1"/>
                </a:solidFill>
              </a:defRPr>
            </a:lvl1pPr>
            <a:lvl2pPr algn="l">
              <a:defRPr b="1" cap="all" spc="60" baseline="0">
                <a:solidFill>
                  <a:schemeClr val="bg1"/>
                </a:solidFill>
              </a:defRPr>
            </a:lvl2pPr>
            <a:lvl3pPr marL="177800" indent="-177800" algn="l">
              <a:buClr>
                <a:schemeClr val="bg1"/>
              </a:buClr>
              <a:buFont typeface="Wingdings" panose="05000000000000000000" pitchFamily="2" charset="2"/>
              <a:buChar char="§"/>
              <a:defRPr cap="none" spc="60" baseline="0">
                <a:solidFill>
                  <a:schemeClr val="bg1"/>
                </a:solidFill>
              </a:defRPr>
            </a:lvl3pPr>
            <a:lvl4pPr algn="l">
              <a:lnSpc>
                <a:spcPct val="15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9601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latzhalter 2 Spalten 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0" y="1655999"/>
            <a:ext cx="5194784" cy="414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35ACC148-410C-4F10-8110-9462A4FDE40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92923" y="1655999"/>
            <a:ext cx="5184706" cy="414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35212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latzhalter 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3" y="1655999"/>
            <a:ext cx="10751987" cy="414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7342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latzhalter 2 Spalten 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0" y="1655999"/>
            <a:ext cx="5194784" cy="414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35ACC148-410C-4F10-8110-9462A4FDE40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92923" y="1655999"/>
            <a:ext cx="5184706" cy="414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4364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hlen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E7F38DB-160E-4457-9A09-47BC361978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02" y="1647815"/>
            <a:ext cx="2864577" cy="1466865"/>
          </a:xfrm>
        </p:spPr>
        <p:txBody>
          <a:bodyPr tIns="0"/>
          <a:lstStyle>
            <a:lvl1pPr algn="l">
              <a:defRPr sz="8500"/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55793B-72DF-46FB-BD0D-7ACA802175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9427" y="3420003"/>
            <a:ext cx="2863991" cy="2367785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defRPr sz="1700"/>
            </a:lvl4pPr>
            <a:lvl5pPr marL="354013" indent="-269875">
              <a:lnSpc>
                <a:spcPct val="150000"/>
              </a:lnSpc>
              <a:defRPr sz="17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83CB1899-849D-4DA3-B596-8968912A29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63707" y="1647815"/>
            <a:ext cx="2864577" cy="1466865"/>
          </a:xfrm>
        </p:spPr>
        <p:txBody>
          <a:bodyPr tIns="0"/>
          <a:lstStyle>
            <a:lvl1pPr algn="l">
              <a:defRPr sz="85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B53AB505-F2BA-4167-80DC-A88F00FEC91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63707" y="3420003"/>
            <a:ext cx="2863991" cy="2367785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defRPr sz="1700"/>
            </a:lvl4pPr>
            <a:lvl5pPr marL="354013" indent="-269875">
              <a:lnSpc>
                <a:spcPct val="150000"/>
              </a:lnSpc>
              <a:defRPr sz="17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47CF6758-5BFF-4FAB-BFEB-642AE33CBF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07409" y="1647815"/>
            <a:ext cx="2864577" cy="1466865"/>
          </a:xfrm>
        </p:spPr>
        <p:txBody>
          <a:bodyPr tIns="0"/>
          <a:lstStyle>
            <a:lvl1pPr algn="l">
              <a:defRPr sz="8500">
                <a:solidFill>
                  <a:srgbClr val="4F81BD"/>
                </a:solidFill>
              </a:defRPr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28086083-D834-4197-BDEC-9C1F4476D99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607995" y="3420003"/>
            <a:ext cx="2863991" cy="2367785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defRPr sz="1700"/>
            </a:lvl4pPr>
            <a:lvl5pPr marL="354013" indent="-260350">
              <a:lnSpc>
                <a:spcPct val="150000"/>
              </a:lnSpc>
              <a:defRPr sz="17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79980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A943D58F-B526-4716-9660-D9FC75EBCBC2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719998" y="3405921"/>
            <a:ext cx="2448000" cy="241385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tabLst>
                <a:tab pos="123825" algn="l"/>
              </a:tabLst>
              <a:defRPr sz="1700" cap="none" spc="0" baseline="0"/>
            </a:lvl1pPr>
            <a:lvl2pPr>
              <a:lnSpc>
                <a:spcPct val="150000"/>
              </a:lnSpc>
              <a:tabLst>
                <a:tab pos="123825" algn="l"/>
              </a:tabLst>
              <a:defRPr sz="1700" cap="none" spc="0"/>
            </a:lvl2pPr>
            <a:lvl3pPr marL="142875" indent="-142875">
              <a:lnSpc>
                <a:spcPct val="150000"/>
              </a:lnSpc>
              <a:tabLst>
                <a:tab pos="123825" algn="l"/>
              </a:tabLst>
              <a:defRPr sz="1700" cap="none" spc="0"/>
            </a:lvl3pPr>
            <a:lvl4pPr>
              <a:lnSpc>
                <a:spcPct val="150000"/>
              </a:lnSpc>
              <a:tabLst>
                <a:tab pos="123825" algn="l"/>
              </a:tabLst>
              <a:defRPr sz="1700" cap="none" spc="0"/>
            </a:lvl4pPr>
            <a:lvl5pPr marL="142875" indent="-142875">
              <a:lnSpc>
                <a:spcPct val="150000"/>
              </a:lnSpc>
              <a:tabLst>
                <a:tab pos="123825" algn="l"/>
              </a:tabLst>
              <a:defRPr sz="1700" cap="none"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4" name="Textplatzhalter 15">
            <a:extLst>
              <a:ext uri="{FF2B5EF4-FFF2-40B4-BE49-F238E27FC236}">
                <a16:creationId xmlns:a16="http://schemas.microsoft.com/office/drawing/2014/main" id="{080E0E5D-3993-49AA-B095-E3EED30044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87994" y="3405921"/>
            <a:ext cx="2448000" cy="241385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tabLst>
                <a:tab pos="182563" algn="l"/>
              </a:tabLst>
              <a:defRPr sz="1700" cap="none" spc="0" baseline="0"/>
            </a:lvl1pPr>
            <a:lvl2pPr>
              <a:lnSpc>
                <a:spcPct val="150000"/>
              </a:lnSpc>
              <a:tabLst>
                <a:tab pos="182563" algn="l"/>
              </a:tabLst>
              <a:defRPr sz="1700" cap="none" spc="0"/>
            </a:lvl2pPr>
            <a:lvl3pPr marL="144000" indent="-144000">
              <a:lnSpc>
                <a:spcPct val="150000"/>
              </a:lnSpc>
              <a:tabLst>
                <a:tab pos="146050" algn="l"/>
              </a:tabLst>
              <a:defRPr sz="1700" cap="none" spc="0"/>
            </a:lvl3pPr>
            <a:lvl4pPr>
              <a:lnSpc>
                <a:spcPct val="150000"/>
              </a:lnSpc>
              <a:tabLst>
                <a:tab pos="182563" algn="l"/>
              </a:tabLst>
              <a:defRPr sz="1700" cap="none" spc="0"/>
            </a:lvl4pPr>
            <a:lvl5pPr marL="144000" indent="-144000">
              <a:lnSpc>
                <a:spcPct val="150000"/>
              </a:lnSpc>
              <a:tabLst>
                <a:tab pos="182563" algn="l"/>
              </a:tabLst>
              <a:defRPr sz="1700" cap="none"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5" name="Textplatzhalter 15">
            <a:extLst>
              <a:ext uri="{FF2B5EF4-FFF2-40B4-BE49-F238E27FC236}">
                <a16:creationId xmlns:a16="http://schemas.microsoft.com/office/drawing/2014/main" id="{54E07309-E85D-4DC2-B031-63B59AB9BC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5994" y="3405921"/>
            <a:ext cx="2448000" cy="241385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tabLst>
                <a:tab pos="146050" algn="l"/>
              </a:tabLst>
              <a:defRPr sz="1700" cap="none" spc="0" baseline="0"/>
            </a:lvl1pPr>
            <a:lvl2pPr>
              <a:lnSpc>
                <a:spcPct val="150000"/>
              </a:lnSpc>
              <a:tabLst>
                <a:tab pos="146050" algn="l"/>
              </a:tabLst>
              <a:defRPr sz="1700" cap="none" spc="0"/>
            </a:lvl2pPr>
            <a:lvl3pPr marL="144000" indent="-144000">
              <a:lnSpc>
                <a:spcPct val="150000"/>
              </a:lnSpc>
              <a:tabLst>
                <a:tab pos="146050" algn="l"/>
              </a:tabLst>
              <a:defRPr sz="1700" cap="none" spc="0"/>
            </a:lvl3pPr>
            <a:lvl4pPr>
              <a:lnSpc>
                <a:spcPct val="150000"/>
              </a:lnSpc>
              <a:tabLst>
                <a:tab pos="146050" algn="l"/>
              </a:tabLst>
              <a:defRPr sz="1700" cap="none" spc="0"/>
            </a:lvl4pPr>
            <a:lvl5pPr marL="144000" indent="-144000">
              <a:lnSpc>
                <a:spcPct val="150000"/>
              </a:lnSpc>
              <a:tabLst>
                <a:tab pos="146050" algn="l"/>
              </a:tabLst>
              <a:defRPr sz="1700" cap="none"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6" name="Textplatzhalter 15">
            <a:extLst>
              <a:ext uri="{FF2B5EF4-FFF2-40B4-BE49-F238E27FC236}">
                <a16:creationId xmlns:a16="http://schemas.microsoft.com/office/drawing/2014/main" id="{5EC8F88A-6F63-4222-B06A-26EAF6DE95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23990" y="3405920"/>
            <a:ext cx="2448000" cy="241385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tabLst>
                <a:tab pos="182563" algn="l"/>
              </a:tabLst>
              <a:defRPr sz="1700" cap="none" spc="0" baseline="0"/>
            </a:lvl1pPr>
            <a:lvl2pPr>
              <a:lnSpc>
                <a:spcPct val="150000"/>
              </a:lnSpc>
              <a:tabLst>
                <a:tab pos="182563" algn="l"/>
              </a:tabLst>
              <a:defRPr sz="1700" cap="none" spc="0"/>
            </a:lvl2pPr>
            <a:lvl3pPr marL="144000" indent="-144000">
              <a:lnSpc>
                <a:spcPct val="150000"/>
              </a:lnSpc>
              <a:tabLst>
                <a:tab pos="182563" algn="l"/>
              </a:tabLst>
              <a:defRPr sz="1700" cap="none" spc="0"/>
            </a:lvl3pPr>
            <a:lvl4pPr>
              <a:lnSpc>
                <a:spcPct val="150000"/>
              </a:lnSpc>
              <a:tabLst>
                <a:tab pos="182563" algn="l"/>
              </a:tabLst>
              <a:defRPr sz="1700" cap="none" spc="0"/>
            </a:lvl4pPr>
            <a:lvl5pPr marL="144000" indent="-144000">
              <a:lnSpc>
                <a:spcPct val="150000"/>
              </a:lnSpc>
              <a:tabLst>
                <a:tab pos="182563" algn="l"/>
              </a:tabLst>
              <a:defRPr sz="1700" cap="none"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90090E5-6DF1-4CCE-BD51-E51A143FD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08AC6F6-7E61-439D-BFBD-C95382035F8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583998" y="2016004"/>
            <a:ext cx="720000" cy="720000"/>
          </a:xfrm>
          <a:solidFill>
            <a:schemeClr val="bg1"/>
          </a:solidFill>
        </p:spPr>
        <p:txBody>
          <a:bodyPr/>
          <a:lstStyle>
            <a:lvl1pPr algn="ctr"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C7BA536F-80FD-4B00-9605-A3CFDCE660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51994" y="2016004"/>
            <a:ext cx="720000" cy="720000"/>
          </a:xfrm>
          <a:solidFill>
            <a:schemeClr val="bg1"/>
          </a:solidFill>
        </p:spPr>
        <p:txBody>
          <a:bodyPr/>
          <a:lstStyle>
            <a:lvl1pPr algn="ctr"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9B1EE0C7-A4AC-49F2-BC3E-C9FF8E7F096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119990" y="2016004"/>
            <a:ext cx="720000" cy="720000"/>
          </a:xfrm>
          <a:solidFill>
            <a:schemeClr val="bg1"/>
          </a:solidFill>
        </p:spPr>
        <p:txBody>
          <a:bodyPr/>
          <a:lstStyle>
            <a:lvl1pPr algn="ctr"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65886C13-2DF1-4450-B4DD-8D577F7EFBE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887986" y="2016004"/>
            <a:ext cx="720000" cy="720000"/>
          </a:xfrm>
          <a:solidFill>
            <a:schemeClr val="bg1"/>
          </a:solidFill>
        </p:spPr>
        <p:txBody>
          <a:bodyPr/>
          <a:lstStyle>
            <a:lvl1pPr algn="ctr">
              <a:defRPr sz="1100"/>
            </a:lvl1pPr>
          </a:lstStyle>
          <a:p>
            <a:r>
              <a:rPr lang="de-DE" dirty="0"/>
              <a:t>Icon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95190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hl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83CB1899-849D-4DA3-B596-8968912A29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62286" y="719999"/>
            <a:ext cx="5345505" cy="5067781"/>
          </a:xfrm>
        </p:spPr>
        <p:txBody>
          <a:bodyPr tIns="0"/>
          <a:lstStyle>
            <a:lvl1pPr algn="r">
              <a:defRPr sz="300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6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55793B-72DF-46FB-BD0D-7ACA802175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9423" y="1647831"/>
            <a:ext cx="4320000" cy="4139957"/>
          </a:xfrm>
        </p:spPr>
        <p:txBody>
          <a:bodyPr/>
          <a:lstStyle>
            <a:lvl1pPr>
              <a:lnSpc>
                <a:spcPct val="150000"/>
              </a:lnSpc>
              <a:defRPr sz="1700" cap="none"/>
            </a:lvl1pPr>
            <a:lvl2pPr>
              <a:lnSpc>
                <a:spcPct val="150000"/>
              </a:lnSpc>
              <a:defRPr sz="1700" cap="none"/>
            </a:lvl2pPr>
            <a:lvl3pPr>
              <a:lnSpc>
                <a:spcPct val="150000"/>
              </a:lnSpc>
              <a:defRPr sz="1700" cap="none"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defRPr sz="1700" cap="none"/>
            </a:lvl4pPr>
            <a:lvl5pPr marL="447675" indent="-269875">
              <a:lnSpc>
                <a:spcPct val="150000"/>
              </a:lnSpc>
              <a:defRPr sz="1700" cap="non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4793D58B-221C-479A-9258-3FA46FB5D5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566404" y="3384151"/>
            <a:ext cx="1064194" cy="1352544"/>
          </a:xfrm>
        </p:spPr>
        <p:txBody>
          <a:bodyPr tIns="0"/>
          <a:lstStyle>
            <a:lvl1pPr algn="l">
              <a:defRPr sz="85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%</a:t>
            </a:r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58745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and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6BA4402-5FDD-4AC9-A56C-B1962FAEE69C}"/>
              </a:ext>
            </a:extLst>
          </p:cNvPr>
          <p:cNvSpPr/>
          <p:nvPr userDrawn="1"/>
        </p:nvSpPr>
        <p:spPr>
          <a:xfrm>
            <a:off x="8607993" y="1647826"/>
            <a:ext cx="3584012" cy="4139940"/>
          </a:xfrm>
          <a:prstGeom prst="rect">
            <a:avLst/>
          </a:prstGeom>
          <a:solidFill>
            <a:srgbClr val="4F81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83CB1899-849D-4DA3-B596-8968912A29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01225" y="1929924"/>
            <a:ext cx="2557382" cy="1369606"/>
          </a:xfrm>
        </p:spPr>
        <p:txBody>
          <a:bodyPr tIns="0"/>
          <a:lstStyle>
            <a:lvl1pPr algn="l">
              <a:defRPr sz="8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65 %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55793B-72DF-46FB-BD0D-7ACA802175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01229" y="3207579"/>
            <a:ext cx="2270759" cy="1944000"/>
          </a:xfrm>
        </p:spPr>
        <p:txBody>
          <a:bodyPr/>
          <a:lstStyle>
            <a:lvl1pPr>
              <a:defRPr sz="1700">
                <a:solidFill>
                  <a:schemeClr val="bg1"/>
                </a:solidFill>
              </a:defRPr>
            </a:lvl1pPr>
            <a:lvl2pPr>
              <a:defRPr sz="17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700">
                <a:solidFill>
                  <a:schemeClr val="bg1"/>
                </a:solidFill>
              </a:defRPr>
            </a:lvl3pPr>
            <a:lvl4pPr marL="354013" indent="-177800">
              <a:buClr>
                <a:schemeClr val="bg1"/>
              </a:buClr>
              <a:buFont typeface="Wingdings" panose="05000000000000000000" pitchFamily="2" charset="2"/>
              <a:buChar char="§"/>
              <a:defRPr sz="1700">
                <a:solidFill>
                  <a:schemeClr val="bg1"/>
                </a:solidFill>
              </a:defRPr>
            </a:lvl4pPr>
            <a:lvl5pPr marL="355600" indent="-179388">
              <a:tabLst/>
              <a:defRPr sz="17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7" name="Inhaltsplatzhalter 7">
            <a:extLst>
              <a:ext uri="{FF2B5EF4-FFF2-40B4-BE49-F238E27FC236}">
                <a16:creationId xmlns:a16="http://schemas.microsoft.com/office/drawing/2014/main" id="{1995AB56-B476-4DD6-8AD7-5983AC23A21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3" y="1655999"/>
            <a:ext cx="6811101" cy="4140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tabLst/>
              <a:defRPr sz="1700"/>
            </a:lvl4pPr>
            <a:lvl5pPr marL="354013" indent="-269875">
              <a:lnSpc>
                <a:spcPct val="150000"/>
              </a:lnSpc>
              <a:defRPr sz="17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78978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lächig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1" y="1728004"/>
            <a:ext cx="12191999" cy="5130001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9E00D91-6216-4C63-B629-3CE2A99B8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50293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lächig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4" y="1"/>
            <a:ext cx="12192000" cy="5112000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35" name="Textplatzhalter 15">
            <a:extLst>
              <a:ext uri="{FF2B5EF4-FFF2-40B4-BE49-F238E27FC236}">
                <a16:creationId xmlns:a16="http://schemas.microsoft.com/office/drawing/2014/main" id="{AC812A5A-0598-445B-84DA-3F5F23A103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002" y="5240344"/>
            <a:ext cx="10771053" cy="540000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defRPr sz="1100" b="0" cap="none" spc="0" baseline="0"/>
            </a:lvl1pPr>
            <a:lvl2pPr marL="179388" indent="-179388">
              <a:lnSpc>
                <a:spcPts val="1400"/>
              </a:lnSpc>
              <a:defRPr sz="1100" b="0"/>
            </a:lvl2pPr>
            <a:lvl3pPr marL="0" indent="0">
              <a:lnSpc>
                <a:spcPts val="1400"/>
              </a:lnSpc>
              <a:buFontTx/>
              <a:buNone/>
              <a:defRPr sz="1100" b="0"/>
            </a:lvl3pPr>
            <a:lvl4pPr marL="179388" indent="-179388">
              <a:lnSpc>
                <a:spcPts val="1400"/>
              </a:lnSpc>
              <a:defRPr sz="1100" b="0"/>
            </a:lvl4pPr>
            <a:lvl5pPr marL="0" indent="0">
              <a:lnSpc>
                <a:spcPts val="1400"/>
              </a:lnSpc>
              <a:buFontTx/>
              <a:buNone/>
              <a:defRPr sz="1100" b="0"/>
            </a:lvl5pPr>
          </a:lstStyle>
          <a:p>
            <a:pPr lvl="0"/>
            <a:r>
              <a:rPr lang="de-DE" dirty="0"/>
              <a:t>Bildunterschrift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19253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6277202" y="1647816"/>
            <a:ext cx="5194782" cy="4132534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45C2D3F-246F-4DEE-AD7D-D1AEFC859E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184354" cy="41637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7D3DA524-4223-4869-97DE-2904751647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1010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lächig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6513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4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200"/>
              </a:lnSpc>
            </a:pPr>
            <a:endParaRPr lang="de-DE" sz="2400" b="1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585079" y="5"/>
            <a:ext cx="4606925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17C61F-8D2B-4B28-AC3B-49847D206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720003"/>
            <a:ext cx="5507764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D6FEAB31-C8DB-407E-8E7B-D21BC3BFA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507764" cy="41637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8945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hlen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E7F38DB-160E-4457-9A09-47BC361978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02" y="1647815"/>
            <a:ext cx="2864577" cy="1466865"/>
          </a:xfrm>
        </p:spPr>
        <p:txBody>
          <a:bodyPr tIns="0"/>
          <a:lstStyle>
            <a:lvl1pPr algn="l">
              <a:defRPr sz="8500"/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55793B-72DF-46FB-BD0D-7ACA802175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9427" y="3420003"/>
            <a:ext cx="2863991" cy="2367785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defRPr sz="1700"/>
            </a:lvl4pPr>
            <a:lvl5pPr marL="354013" indent="-269875">
              <a:lnSpc>
                <a:spcPct val="150000"/>
              </a:lnSpc>
              <a:defRPr sz="17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83CB1899-849D-4DA3-B596-8968912A29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63707" y="1647815"/>
            <a:ext cx="2864577" cy="1466865"/>
          </a:xfrm>
        </p:spPr>
        <p:txBody>
          <a:bodyPr tIns="0"/>
          <a:lstStyle>
            <a:lvl1pPr algn="l">
              <a:defRPr sz="85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B53AB505-F2BA-4167-80DC-A88F00FEC91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63707" y="3420003"/>
            <a:ext cx="2863991" cy="2367785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defRPr sz="1700"/>
            </a:lvl4pPr>
            <a:lvl5pPr marL="354013" indent="-269875">
              <a:lnSpc>
                <a:spcPct val="150000"/>
              </a:lnSpc>
              <a:defRPr sz="17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47CF6758-5BFF-4FAB-BFEB-642AE33CBF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07409" y="1647815"/>
            <a:ext cx="2864577" cy="1466865"/>
          </a:xfrm>
        </p:spPr>
        <p:txBody>
          <a:bodyPr tIns="0"/>
          <a:lstStyle>
            <a:lvl1pPr algn="l">
              <a:defRPr sz="8500">
                <a:solidFill>
                  <a:srgbClr val="4F81BD"/>
                </a:solidFill>
              </a:defRPr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28086083-D834-4197-BDEC-9C1F4476D99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607995" y="3420003"/>
            <a:ext cx="2863991" cy="2367785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defRPr sz="1700"/>
            </a:lvl4pPr>
            <a:lvl5pPr marL="354013" indent="-260350">
              <a:lnSpc>
                <a:spcPct val="150000"/>
              </a:lnSpc>
              <a:defRPr sz="17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98304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flächig rechts Dru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87649" y="5"/>
            <a:ext cx="5904351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17C61F-8D2B-4B28-AC3B-49847D206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5183385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D6FEAB31-C8DB-407E-8E7B-D21BC3BFA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184354" cy="4163775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268E10E-C1BA-4E12-90CE-C68B4C4BFC10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ED2595-B85B-464B-A284-140EEE579AA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92C155D-FF84-47E4-A35F-3E5C7790FB2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99977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440004" y="5"/>
            <a:ext cx="4752000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D6FEAB31-C8DB-407E-8E7B-D21BC3BFA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940000" cy="4163775"/>
          </a:xfrm>
        </p:spPr>
        <p:txBody>
          <a:bodyPr/>
          <a:lstStyle>
            <a:lvl1pPr algn="l">
              <a:spcAft>
                <a:spcPts val="1800"/>
              </a:spcAft>
              <a:defRPr sz="2400" b="0" i="1" cap="none" baseline="0">
                <a:solidFill>
                  <a:srgbClr val="00899C"/>
                </a:solidFill>
              </a:defRPr>
            </a:lvl1pPr>
            <a:lvl2pPr algn="l">
              <a:defRPr sz="1700" b="1" i="0" cap="all" spc="60" baseline="0"/>
            </a:lvl2pPr>
            <a:lvl3pPr marL="0" indent="0" algn="l">
              <a:buFontTx/>
              <a:buNone/>
              <a:defRPr sz="1700" b="0" i="0" cap="none" baseline="0"/>
            </a:lvl3pPr>
            <a:lvl4pPr>
              <a:defRPr sz="2400" b="0" i="1" cap="none" baseline="0"/>
            </a:lvl4pPr>
            <a:lvl5pPr>
              <a:defRPr sz="2400" b="0" i="1" cap="none" baseline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06949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52B9204-3CA8-4F46-9611-D37CCDE4E1BC}"/>
              </a:ext>
            </a:extLst>
          </p:cNvPr>
          <p:cNvSpPr/>
          <p:nvPr userDrawn="1"/>
        </p:nvSpPr>
        <p:spPr>
          <a:xfrm>
            <a:off x="0" y="0"/>
            <a:ext cx="7440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440004" y="5"/>
            <a:ext cx="4752000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2D948F1-0E22-4609-A685-F0FD1D3A70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0"/>
            <a:ext cx="5940000" cy="4124344"/>
          </a:xfrm>
        </p:spPr>
        <p:txBody>
          <a:bodyPr/>
          <a:lstStyle>
            <a:lvl1pPr algn="l">
              <a:spcAft>
                <a:spcPts val="1800"/>
              </a:spcAft>
              <a:defRPr sz="2400" b="0" i="1" cap="none" baseline="0">
                <a:solidFill>
                  <a:schemeClr val="bg1"/>
                </a:solidFill>
              </a:defRPr>
            </a:lvl1pPr>
            <a:lvl2pPr algn="l">
              <a:defRPr sz="1700" b="1" i="0" cap="all" spc="60" baseline="0">
                <a:solidFill>
                  <a:schemeClr val="bg1"/>
                </a:solidFill>
              </a:defRPr>
            </a:lvl2pPr>
            <a:lvl3pPr marL="0" indent="0" algn="l">
              <a:buFontTx/>
              <a:buNone/>
              <a:defRPr sz="1700" b="0" i="0" cap="none" baseline="0">
                <a:solidFill>
                  <a:schemeClr val="bg1"/>
                </a:solidFill>
              </a:defRPr>
            </a:lvl3pPr>
            <a:lvl4pPr>
              <a:defRPr sz="2400" b="0" i="1" cap="none" baseline="0"/>
            </a:lvl4pPr>
            <a:lvl5pPr>
              <a:defRPr sz="2400" b="0" i="1" cap="none" baseline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8132" y="319088"/>
            <a:ext cx="1308100" cy="314961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85348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60000" y="1619999"/>
            <a:ext cx="10272000" cy="4522764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7D993AC-C514-4B4D-8043-FAC4B035283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E98196-92A2-4930-BA9C-DDDB8C34E8C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461457" y="6356351"/>
            <a:ext cx="4114800" cy="144000"/>
          </a:xfrm>
        </p:spPr>
        <p:txBody>
          <a:bodyPr/>
          <a:lstStyle/>
          <a:p>
            <a:endParaRPr lang="de-DE" dirty="0">
              <a:solidFill>
                <a:srgbClr val="003E77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DA4E79-7E31-40E8-8E53-D93E22FD47B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70705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DBB7A08-6BD2-4AC1-B0CC-70F8B81404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60967" y="1619250"/>
            <a:ext cx="10270067" cy="4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1" name="Inhaltsplatzhalter 7">
            <a:extLst>
              <a:ext uri="{FF2B5EF4-FFF2-40B4-BE49-F238E27FC236}">
                <a16:creationId xmlns:a16="http://schemas.microsoft.com/office/drawing/2014/main" id="{F96F473A-C219-4C98-A447-11DA4193153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60000" y="2051251"/>
            <a:ext cx="10272000" cy="4091513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51D12848-1DFB-4C2B-803A-F88510BC5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A3871C-65CD-491D-AC32-A03E6164A33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C2C1F6-BAED-4635-9684-31BC22F1AB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solidFill>
                <a:srgbClr val="003E77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D5E9FF8-B044-4B98-949B-A341FF1B730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41124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68867" y="1458913"/>
            <a:ext cx="10272184" cy="4464050"/>
          </a:xfrm>
          <a:prstGeom prst="rect">
            <a:avLst/>
          </a:prstGeom>
        </p:spPr>
        <p:txBody>
          <a:bodyPr/>
          <a:lstStyle>
            <a:lvl1pPr marL="266700" indent="-266700">
              <a:lnSpc>
                <a:spcPct val="130000"/>
              </a:lnSpc>
              <a:spcBef>
                <a:spcPts val="600"/>
              </a:spcBef>
              <a:buClr>
                <a:srgbClr val="13315E"/>
              </a:buClr>
              <a:buFont typeface="Wingdings" panose="05000000000000000000" pitchFamily="2" charset="2"/>
              <a:buChar char="§"/>
              <a:defRPr sz="24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41338" indent="-274638">
              <a:lnSpc>
                <a:spcPct val="130000"/>
              </a:lnSpc>
              <a:spcBef>
                <a:spcPts val="600"/>
              </a:spcBef>
              <a:buClr>
                <a:srgbClr val="13315E"/>
              </a:buClr>
              <a:buFont typeface="Wingdings" panose="05000000000000000000" pitchFamily="2" charset="2"/>
              <a:buChar char="§"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08038" indent="-266700">
              <a:lnSpc>
                <a:spcPct val="130000"/>
              </a:lnSpc>
              <a:spcBef>
                <a:spcPts val="600"/>
              </a:spcBef>
              <a:buClr>
                <a:srgbClr val="13315E"/>
              </a:buClr>
              <a:buFont typeface="Symbol" panose="05050102010706020507" pitchFamily="18" charset="2"/>
              <a:buChar char="-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4738" indent="-266700">
              <a:lnSpc>
                <a:spcPct val="130000"/>
              </a:lnSpc>
              <a:spcBef>
                <a:spcPts val="600"/>
              </a:spcBef>
              <a:buClr>
                <a:srgbClr val="13315E"/>
              </a:buClr>
              <a:buFont typeface="Symbol" panose="05050102010706020507" pitchFamily="18" charset="2"/>
              <a:buChar char="-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41438" indent="-266700">
              <a:buClr>
                <a:srgbClr val="13315E"/>
              </a:buClr>
              <a:buFont typeface="Symbol" panose="05050102010706020507" pitchFamily="18" charset="2"/>
              <a:buChar char="-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 dirty="0"/>
              <a:t>Editing Text master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pic>
        <p:nvPicPr>
          <p:cNvPr id="12" name="Picture 4" descr="C:\Users\ln\Desktop\PPT_Vorlage_Angebote2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41" b="81847"/>
          <a:stretch/>
        </p:blipFill>
        <p:spPr bwMode="auto">
          <a:xfrm>
            <a:off x="1" y="1124744"/>
            <a:ext cx="12192001" cy="239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682751" y="342181"/>
            <a:ext cx="10286933" cy="56207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1040549" y="307410"/>
            <a:ext cx="8447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7E5629-5E8C-4ACA-B14E-CD150F30CCDD}" type="slidenum">
              <a:rPr lang="en-GB" smtClean="0">
                <a:solidFill>
                  <a:prstClr val="black"/>
                </a:solidFill>
              </a:rPr>
              <a:pPr/>
              <a:t>‹Nr.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1516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A943D58F-B526-4716-9660-D9FC75EBCBC2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719998" y="3405921"/>
            <a:ext cx="2448000" cy="241385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tabLst>
                <a:tab pos="123825" algn="l"/>
              </a:tabLst>
              <a:defRPr sz="1700" cap="none" spc="0" baseline="0"/>
            </a:lvl1pPr>
            <a:lvl2pPr>
              <a:lnSpc>
                <a:spcPct val="150000"/>
              </a:lnSpc>
              <a:tabLst>
                <a:tab pos="123825" algn="l"/>
              </a:tabLst>
              <a:defRPr sz="1700" cap="none" spc="0"/>
            </a:lvl2pPr>
            <a:lvl3pPr marL="142875" indent="-142875">
              <a:lnSpc>
                <a:spcPct val="150000"/>
              </a:lnSpc>
              <a:tabLst>
                <a:tab pos="123825" algn="l"/>
              </a:tabLst>
              <a:defRPr sz="1700" cap="none" spc="0"/>
            </a:lvl3pPr>
            <a:lvl4pPr>
              <a:lnSpc>
                <a:spcPct val="150000"/>
              </a:lnSpc>
              <a:tabLst>
                <a:tab pos="123825" algn="l"/>
              </a:tabLst>
              <a:defRPr sz="1700" cap="none" spc="0"/>
            </a:lvl4pPr>
            <a:lvl5pPr marL="142875" indent="-142875">
              <a:lnSpc>
                <a:spcPct val="150000"/>
              </a:lnSpc>
              <a:tabLst>
                <a:tab pos="123825" algn="l"/>
              </a:tabLst>
              <a:defRPr sz="1700" cap="none"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4" name="Textplatzhalter 15">
            <a:extLst>
              <a:ext uri="{FF2B5EF4-FFF2-40B4-BE49-F238E27FC236}">
                <a16:creationId xmlns:a16="http://schemas.microsoft.com/office/drawing/2014/main" id="{080E0E5D-3993-49AA-B095-E3EED30044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87994" y="3405921"/>
            <a:ext cx="2448000" cy="241385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tabLst>
                <a:tab pos="182563" algn="l"/>
              </a:tabLst>
              <a:defRPr sz="1700" cap="none" spc="0" baseline="0"/>
            </a:lvl1pPr>
            <a:lvl2pPr>
              <a:lnSpc>
                <a:spcPct val="150000"/>
              </a:lnSpc>
              <a:tabLst>
                <a:tab pos="182563" algn="l"/>
              </a:tabLst>
              <a:defRPr sz="1700" cap="none" spc="0"/>
            </a:lvl2pPr>
            <a:lvl3pPr marL="144000" indent="-144000">
              <a:lnSpc>
                <a:spcPct val="150000"/>
              </a:lnSpc>
              <a:tabLst>
                <a:tab pos="146050" algn="l"/>
              </a:tabLst>
              <a:defRPr sz="1700" cap="none" spc="0"/>
            </a:lvl3pPr>
            <a:lvl4pPr>
              <a:lnSpc>
                <a:spcPct val="150000"/>
              </a:lnSpc>
              <a:tabLst>
                <a:tab pos="182563" algn="l"/>
              </a:tabLst>
              <a:defRPr sz="1700" cap="none" spc="0"/>
            </a:lvl4pPr>
            <a:lvl5pPr marL="144000" indent="-144000">
              <a:lnSpc>
                <a:spcPct val="150000"/>
              </a:lnSpc>
              <a:tabLst>
                <a:tab pos="182563" algn="l"/>
              </a:tabLst>
              <a:defRPr sz="1700" cap="none"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5" name="Textplatzhalter 15">
            <a:extLst>
              <a:ext uri="{FF2B5EF4-FFF2-40B4-BE49-F238E27FC236}">
                <a16:creationId xmlns:a16="http://schemas.microsoft.com/office/drawing/2014/main" id="{54E07309-E85D-4DC2-B031-63B59AB9BC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5994" y="3405921"/>
            <a:ext cx="2448000" cy="241385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tabLst>
                <a:tab pos="146050" algn="l"/>
              </a:tabLst>
              <a:defRPr sz="1700" cap="none" spc="0" baseline="0"/>
            </a:lvl1pPr>
            <a:lvl2pPr>
              <a:lnSpc>
                <a:spcPct val="150000"/>
              </a:lnSpc>
              <a:tabLst>
                <a:tab pos="146050" algn="l"/>
              </a:tabLst>
              <a:defRPr sz="1700" cap="none" spc="0"/>
            </a:lvl2pPr>
            <a:lvl3pPr marL="144000" indent="-144000">
              <a:lnSpc>
                <a:spcPct val="150000"/>
              </a:lnSpc>
              <a:tabLst>
                <a:tab pos="146050" algn="l"/>
              </a:tabLst>
              <a:defRPr sz="1700" cap="none" spc="0"/>
            </a:lvl3pPr>
            <a:lvl4pPr>
              <a:lnSpc>
                <a:spcPct val="150000"/>
              </a:lnSpc>
              <a:tabLst>
                <a:tab pos="146050" algn="l"/>
              </a:tabLst>
              <a:defRPr sz="1700" cap="none" spc="0"/>
            </a:lvl4pPr>
            <a:lvl5pPr marL="144000" indent="-144000">
              <a:lnSpc>
                <a:spcPct val="150000"/>
              </a:lnSpc>
              <a:tabLst>
                <a:tab pos="146050" algn="l"/>
              </a:tabLst>
              <a:defRPr sz="1700" cap="none"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6" name="Textplatzhalter 15">
            <a:extLst>
              <a:ext uri="{FF2B5EF4-FFF2-40B4-BE49-F238E27FC236}">
                <a16:creationId xmlns:a16="http://schemas.microsoft.com/office/drawing/2014/main" id="{5EC8F88A-6F63-4222-B06A-26EAF6DE95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23990" y="3405920"/>
            <a:ext cx="2448000" cy="241385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tabLst>
                <a:tab pos="182563" algn="l"/>
              </a:tabLst>
              <a:defRPr sz="1700" cap="none" spc="0" baseline="0"/>
            </a:lvl1pPr>
            <a:lvl2pPr>
              <a:lnSpc>
                <a:spcPct val="150000"/>
              </a:lnSpc>
              <a:tabLst>
                <a:tab pos="182563" algn="l"/>
              </a:tabLst>
              <a:defRPr sz="1700" cap="none" spc="0"/>
            </a:lvl2pPr>
            <a:lvl3pPr marL="144000" indent="-144000">
              <a:lnSpc>
                <a:spcPct val="150000"/>
              </a:lnSpc>
              <a:tabLst>
                <a:tab pos="182563" algn="l"/>
              </a:tabLst>
              <a:defRPr sz="1700" cap="none" spc="0"/>
            </a:lvl3pPr>
            <a:lvl4pPr>
              <a:lnSpc>
                <a:spcPct val="150000"/>
              </a:lnSpc>
              <a:tabLst>
                <a:tab pos="182563" algn="l"/>
              </a:tabLst>
              <a:defRPr sz="1700" cap="none" spc="0"/>
            </a:lvl4pPr>
            <a:lvl5pPr marL="144000" indent="-144000">
              <a:lnSpc>
                <a:spcPct val="150000"/>
              </a:lnSpc>
              <a:tabLst>
                <a:tab pos="182563" algn="l"/>
              </a:tabLst>
              <a:defRPr sz="1700" cap="none"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90090E5-6DF1-4CCE-BD51-E51A143FD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08AC6F6-7E61-439D-BFBD-C95382035F8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583998" y="2016004"/>
            <a:ext cx="720000" cy="720000"/>
          </a:xfrm>
          <a:solidFill>
            <a:schemeClr val="bg1"/>
          </a:solidFill>
        </p:spPr>
        <p:txBody>
          <a:bodyPr/>
          <a:lstStyle>
            <a:lvl1pPr algn="ctr"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C7BA536F-80FD-4B00-9605-A3CFDCE660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51994" y="2016004"/>
            <a:ext cx="720000" cy="720000"/>
          </a:xfrm>
          <a:solidFill>
            <a:schemeClr val="bg1"/>
          </a:solidFill>
        </p:spPr>
        <p:txBody>
          <a:bodyPr/>
          <a:lstStyle>
            <a:lvl1pPr algn="ctr"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9B1EE0C7-A4AC-49F2-BC3E-C9FF8E7F096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119990" y="2016004"/>
            <a:ext cx="720000" cy="720000"/>
          </a:xfrm>
          <a:solidFill>
            <a:schemeClr val="bg1"/>
          </a:solidFill>
        </p:spPr>
        <p:txBody>
          <a:bodyPr/>
          <a:lstStyle>
            <a:lvl1pPr algn="ctr"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65886C13-2DF1-4450-B4DD-8D577F7EFBE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887986" y="2016004"/>
            <a:ext cx="720000" cy="720000"/>
          </a:xfrm>
          <a:solidFill>
            <a:schemeClr val="bg1"/>
          </a:solidFill>
        </p:spPr>
        <p:txBody>
          <a:bodyPr/>
          <a:lstStyle>
            <a:lvl1pPr algn="ctr">
              <a:defRPr sz="1100"/>
            </a:lvl1pPr>
          </a:lstStyle>
          <a:p>
            <a:r>
              <a:rPr lang="de-DE" dirty="0"/>
              <a:t>Icon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8149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hl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83CB1899-849D-4DA3-B596-8968912A29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62286" y="719999"/>
            <a:ext cx="5345505" cy="5067781"/>
          </a:xfrm>
        </p:spPr>
        <p:txBody>
          <a:bodyPr tIns="0"/>
          <a:lstStyle>
            <a:lvl1pPr algn="r">
              <a:defRPr sz="300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6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55793B-72DF-46FB-BD0D-7ACA802175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9423" y="1647831"/>
            <a:ext cx="4320000" cy="4139957"/>
          </a:xfrm>
        </p:spPr>
        <p:txBody>
          <a:bodyPr/>
          <a:lstStyle>
            <a:lvl1pPr>
              <a:lnSpc>
                <a:spcPct val="150000"/>
              </a:lnSpc>
              <a:defRPr sz="1700" cap="none"/>
            </a:lvl1pPr>
            <a:lvl2pPr>
              <a:lnSpc>
                <a:spcPct val="150000"/>
              </a:lnSpc>
              <a:defRPr sz="1700" cap="none"/>
            </a:lvl2pPr>
            <a:lvl3pPr>
              <a:lnSpc>
                <a:spcPct val="150000"/>
              </a:lnSpc>
              <a:defRPr sz="1700" cap="none"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defRPr sz="1700" cap="none"/>
            </a:lvl4pPr>
            <a:lvl5pPr marL="447675" indent="-269875">
              <a:lnSpc>
                <a:spcPct val="150000"/>
              </a:lnSpc>
              <a:defRPr sz="1700" cap="non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4793D58B-221C-479A-9258-3FA46FB5D5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566404" y="3384151"/>
            <a:ext cx="1064194" cy="1352544"/>
          </a:xfrm>
        </p:spPr>
        <p:txBody>
          <a:bodyPr tIns="0"/>
          <a:lstStyle>
            <a:lvl1pPr algn="l">
              <a:defRPr sz="85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%</a:t>
            </a:r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24251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and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6BA4402-5FDD-4AC9-A56C-B1962FAEE69C}"/>
              </a:ext>
            </a:extLst>
          </p:cNvPr>
          <p:cNvSpPr/>
          <p:nvPr userDrawn="1"/>
        </p:nvSpPr>
        <p:spPr>
          <a:xfrm>
            <a:off x="8607993" y="1647826"/>
            <a:ext cx="3584012" cy="4139940"/>
          </a:xfrm>
          <a:prstGeom prst="rect">
            <a:avLst/>
          </a:prstGeom>
          <a:solidFill>
            <a:srgbClr val="4F81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latin typeface="+mj-lt"/>
            </a:endParaRP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83CB1899-849D-4DA3-B596-8968912A29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01225" y="1929924"/>
            <a:ext cx="2557382" cy="1369606"/>
          </a:xfrm>
        </p:spPr>
        <p:txBody>
          <a:bodyPr tIns="0"/>
          <a:lstStyle>
            <a:lvl1pPr algn="l">
              <a:defRPr sz="8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65 %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55793B-72DF-46FB-BD0D-7ACA802175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01229" y="3207579"/>
            <a:ext cx="2270759" cy="1944000"/>
          </a:xfrm>
        </p:spPr>
        <p:txBody>
          <a:bodyPr/>
          <a:lstStyle>
            <a:lvl1pPr>
              <a:defRPr sz="1700">
                <a:solidFill>
                  <a:schemeClr val="bg1"/>
                </a:solidFill>
              </a:defRPr>
            </a:lvl1pPr>
            <a:lvl2pPr>
              <a:defRPr sz="17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700">
                <a:solidFill>
                  <a:schemeClr val="bg1"/>
                </a:solidFill>
              </a:defRPr>
            </a:lvl3pPr>
            <a:lvl4pPr marL="354013" indent="-177800">
              <a:buClr>
                <a:schemeClr val="bg1"/>
              </a:buClr>
              <a:buFont typeface="Wingdings" panose="05000000000000000000" pitchFamily="2" charset="2"/>
              <a:buChar char="§"/>
              <a:defRPr sz="1700">
                <a:solidFill>
                  <a:schemeClr val="bg1"/>
                </a:solidFill>
              </a:defRPr>
            </a:lvl4pPr>
            <a:lvl5pPr marL="355600" indent="-179388">
              <a:tabLst/>
              <a:defRPr sz="17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7" name="Inhaltsplatzhalter 7">
            <a:extLst>
              <a:ext uri="{FF2B5EF4-FFF2-40B4-BE49-F238E27FC236}">
                <a16:creationId xmlns:a16="http://schemas.microsoft.com/office/drawing/2014/main" id="{1995AB56-B476-4DD6-8AD7-5983AC23A21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3" y="1655999"/>
            <a:ext cx="6811101" cy="4140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tabLst/>
              <a:defRPr sz="1700"/>
            </a:lvl4pPr>
            <a:lvl5pPr marL="354013" indent="-269875">
              <a:lnSpc>
                <a:spcPct val="150000"/>
              </a:lnSpc>
              <a:defRPr sz="17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77219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lächig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1" y="1728004"/>
            <a:ext cx="12191999" cy="5130001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9E00D91-6216-4C63-B629-3CE2A99B8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0281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lächig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4" y="1"/>
            <a:ext cx="12192000" cy="5112000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35" name="Textplatzhalter 15">
            <a:extLst>
              <a:ext uri="{FF2B5EF4-FFF2-40B4-BE49-F238E27FC236}">
                <a16:creationId xmlns:a16="http://schemas.microsoft.com/office/drawing/2014/main" id="{AC812A5A-0598-445B-84DA-3F5F23A103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002" y="5240344"/>
            <a:ext cx="10771053" cy="540000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defRPr sz="1100" b="0" cap="none" spc="0" baseline="0"/>
            </a:lvl1pPr>
            <a:lvl2pPr marL="179388" indent="-179388">
              <a:lnSpc>
                <a:spcPts val="1400"/>
              </a:lnSpc>
              <a:defRPr sz="1100" b="0"/>
            </a:lvl2pPr>
            <a:lvl3pPr marL="0" indent="0">
              <a:lnSpc>
                <a:spcPts val="1400"/>
              </a:lnSpc>
              <a:buFontTx/>
              <a:buNone/>
              <a:defRPr sz="1100" b="0"/>
            </a:lvl3pPr>
            <a:lvl4pPr marL="179388" indent="-179388">
              <a:lnSpc>
                <a:spcPts val="1400"/>
              </a:lnSpc>
              <a:defRPr sz="1100" b="0"/>
            </a:lvl4pPr>
            <a:lvl5pPr marL="0" indent="0">
              <a:lnSpc>
                <a:spcPts val="1400"/>
              </a:lnSpc>
              <a:buFontTx/>
              <a:buNone/>
              <a:defRPr sz="1100" b="0"/>
            </a:lvl5pPr>
          </a:lstStyle>
          <a:p>
            <a:pPr lvl="0"/>
            <a:r>
              <a:rPr lang="de-DE" dirty="0"/>
              <a:t>Bildunterschrift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5999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6277202" y="1647816"/>
            <a:ext cx="5194782" cy="4132534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45C2D3F-246F-4DEE-AD7D-D1AEFC859E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184354" cy="41637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7D3DA524-4223-4869-97DE-2904751647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8409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lächig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2678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4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2200"/>
              </a:lnSpc>
            </a:pPr>
            <a:endParaRPr lang="de-DE" sz="24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585079" y="5"/>
            <a:ext cx="4606925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17C61F-8D2B-4B28-AC3B-49847D206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720003"/>
            <a:ext cx="5507764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D6FEAB31-C8DB-407E-8E7B-D21BC3BFA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507764" cy="41637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61467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4037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8" imgH="338" progId="TCLayout.ActiveDocument.1">
                  <p:embed/>
                </p:oleObj>
              </mc:Choice>
              <mc:Fallback>
                <p:oleObj name="think-cell Folie" r:id="rId3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C9A0AC49-C9B3-4EB9-994D-CE55B551CC55}"/>
              </a:ext>
            </a:extLst>
          </p:cNvPr>
          <p:cNvSpPr/>
          <p:nvPr userDrawn="1"/>
        </p:nvSpPr>
        <p:spPr>
          <a:xfrm>
            <a:off x="4" y="-1"/>
            <a:ext cx="12192000" cy="34344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4" y="1906948"/>
            <a:ext cx="5136000" cy="612001"/>
          </a:xfrm>
        </p:spPr>
        <p:txBody>
          <a:bodyPr wrap="none" anchor="t">
            <a:noAutofit/>
          </a:bodyPr>
          <a:lstStyle>
            <a:lvl1pPr algn="l">
              <a:lnSpc>
                <a:spcPct val="100000"/>
              </a:lnSpc>
              <a:defRPr sz="3400" b="1" spc="12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apiteltrenner</a:t>
            </a:r>
            <a:endParaRPr lang="en-US" dirty="0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A8AA797-3826-4F4D-8515-0918A91F815D}"/>
              </a:ext>
            </a:extLst>
          </p:cNvPr>
          <p:cNvSpPr/>
          <p:nvPr userDrawn="1"/>
        </p:nvSpPr>
        <p:spPr>
          <a:xfrm>
            <a:off x="720000" y="1618952"/>
            <a:ext cx="5400000" cy="9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bg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56B483E-C980-462D-97DC-55C047CC1931}"/>
              </a:ext>
            </a:extLst>
          </p:cNvPr>
          <p:cNvSpPr/>
          <p:nvPr userDrawn="1"/>
        </p:nvSpPr>
        <p:spPr>
          <a:xfrm>
            <a:off x="4" y="3429000"/>
            <a:ext cx="8784000" cy="90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latin typeface="+mj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004" y="3429003"/>
            <a:ext cx="5136000" cy="900001"/>
          </a:xfrm>
        </p:spPr>
        <p:txBody>
          <a:bodyPr wrap="none" tIns="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cap="none" spc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Untertitel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1583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flächig rechts Dru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87649" y="5"/>
            <a:ext cx="5904351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17C61F-8D2B-4B28-AC3B-49847D206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5183385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D6FEAB31-C8DB-407E-8E7B-D21BC3BFA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184354" cy="4163775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268E10E-C1BA-4E12-90CE-C68B4C4BFC10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ED2595-B85B-464B-A284-140EEE579AA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92C155D-FF84-47E4-A35F-3E5C7790FB2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2197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440004" y="5"/>
            <a:ext cx="4752000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D6FEAB31-C8DB-407E-8E7B-D21BC3BFA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940000" cy="4163775"/>
          </a:xfrm>
        </p:spPr>
        <p:txBody>
          <a:bodyPr/>
          <a:lstStyle>
            <a:lvl1pPr algn="l">
              <a:spcAft>
                <a:spcPts val="1800"/>
              </a:spcAft>
              <a:defRPr sz="2400" b="0" i="1" cap="none" baseline="0">
                <a:solidFill>
                  <a:srgbClr val="00899C"/>
                </a:solidFill>
              </a:defRPr>
            </a:lvl1pPr>
            <a:lvl2pPr algn="l">
              <a:defRPr sz="1700" b="1" i="0" cap="all" spc="60" baseline="0"/>
            </a:lvl2pPr>
            <a:lvl3pPr marL="0" indent="0" algn="l">
              <a:buFontTx/>
              <a:buNone/>
              <a:defRPr sz="1700" b="0" i="0" cap="none" baseline="0"/>
            </a:lvl3pPr>
            <a:lvl4pPr>
              <a:defRPr sz="2400" b="0" i="1" cap="none" baseline="0"/>
            </a:lvl4pPr>
            <a:lvl5pPr>
              <a:defRPr sz="2400" b="0" i="1" cap="none" baseline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50223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52B9204-3CA8-4F46-9611-D37CCDE4E1BC}"/>
              </a:ext>
            </a:extLst>
          </p:cNvPr>
          <p:cNvSpPr/>
          <p:nvPr userDrawn="1"/>
        </p:nvSpPr>
        <p:spPr>
          <a:xfrm>
            <a:off x="0" y="0"/>
            <a:ext cx="7440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latin typeface="+mj-lt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440004" y="5"/>
            <a:ext cx="4752000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2D948F1-0E22-4609-A685-F0FD1D3A70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0"/>
            <a:ext cx="5940000" cy="4124344"/>
          </a:xfrm>
        </p:spPr>
        <p:txBody>
          <a:bodyPr/>
          <a:lstStyle>
            <a:lvl1pPr algn="l">
              <a:spcAft>
                <a:spcPts val="1800"/>
              </a:spcAft>
              <a:defRPr sz="2400" b="0" i="1" cap="none" baseline="0">
                <a:solidFill>
                  <a:schemeClr val="bg1"/>
                </a:solidFill>
              </a:defRPr>
            </a:lvl1pPr>
            <a:lvl2pPr algn="l">
              <a:defRPr sz="1700" b="1" i="0" cap="all" spc="60" baseline="0">
                <a:solidFill>
                  <a:schemeClr val="bg1"/>
                </a:solidFill>
              </a:defRPr>
            </a:lvl2pPr>
            <a:lvl3pPr marL="0" indent="0" algn="l">
              <a:buFontTx/>
              <a:buNone/>
              <a:defRPr sz="1700" b="0" i="0" cap="none" baseline="0">
                <a:solidFill>
                  <a:schemeClr val="bg1"/>
                </a:solidFill>
              </a:defRPr>
            </a:lvl3pPr>
            <a:lvl4pPr>
              <a:defRPr sz="2400" b="0" i="1" cap="none" baseline="0"/>
            </a:lvl4pPr>
            <a:lvl5pPr>
              <a:defRPr sz="2400" b="0" i="1" cap="none" baseline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8132" y="319088"/>
            <a:ext cx="1308100" cy="314961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59217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60000" y="1619999"/>
            <a:ext cx="10272000" cy="4522764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7D993AC-C514-4B4D-8043-FAC4B035283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E98196-92A2-4930-BA9C-DDDB8C34E8C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461457" y="6356351"/>
            <a:ext cx="4114800" cy="144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DA4E79-7E31-40E8-8E53-D93E22FD47B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5B617DF-0598-4CB7-9ACB-BD8355A1A30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10279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DBB7A08-6BD2-4AC1-B0CC-70F8B81404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60967" y="1619250"/>
            <a:ext cx="10270067" cy="4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1" name="Inhaltsplatzhalter 7">
            <a:extLst>
              <a:ext uri="{FF2B5EF4-FFF2-40B4-BE49-F238E27FC236}">
                <a16:creationId xmlns:a16="http://schemas.microsoft.com/office/drawing/2014/main" id="{F96F473A-C219-4C98-A447-11DA4193153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60000" y="2051251"/>
            <a:ext cx="10272000" cy="4091513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51D12848-1DFB-4C2B-803A-F88510BC5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A3871C-65CD-491D-AC32-A03E6164A33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C2C1F6-BAED-4635-9684-31BC22F1AB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D5E9FF8-B044-4B98-949B-A341FF1B730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5B617DF-0598-4CB7-9ACB-BD8355A1A30B}" type="slidenum">
              <a:rPr lang="en-US" noProof="0" smtClean="0"/>
              <a:pPr/>
              <a:t>‹Nr.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4070952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68867" y="1458913"/>
            <a:ext cx="10272184" cy="4464050"/>
          </a:xfrm>
          <a:prstGeom prst="rect">
            <a:avLst/>
          </a:prstGeom>
        </p:spPr>
        <p:txBody>
          <a:bodyPr/>
          <a:lstStyle>
            <a:lvl1pPr marL="266700" indent="-266700">
              <a:lnSpc>
                <a:spcPct val="130000"/>
              </a:lnSpc>
              <a:spcBef>
                <a:spcPts val="600"/>
              </a:spcBef>
              <a:buClr>
                <a:srgbClr val="13315E"/>
              </a:buClr>
              <a:buFont typeface="Wingdings" panose="05000000000000000000" pitchFamily="2" charset="2"/>
              <a:buChar char="§"/>
              <a:defRPr sz="240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41338" indent="-274638">
              <a:lnSpc>
                <a:spcPct val="130000"/>
              </a:lnSpc>
              <a:spcBef>
                <a:spcPts val="600"/>
              </a:spcBef>
              <a:buClr>
                <a:srgbClr val="13315E"/>
              </a:buClr>
              <a:buFont typeface="Wingdings" panose="05000000000000000000" pitchFamily="2" charset="2"/>
              <a:buChar char="§"/>
              <a:defRPr sz="2000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08038" indent="-266700">
              <a:lnSpc>
                <a:spcPct val="130000"/>
              </a:lnSpc>
              <a:spcBef>
                <a:spcPts val="600"/>
              </a:spcBef>
              <a:buClr>
                <a:srgbClr val="13315E"/>
              </a:buClr>
              <a:buFont typeface="Symbol" panose="05050102010706020507" pitchFamily="18" charset="2"/>
              <a:buChar char="-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074738" indent="-266700">
              <a:lnSpc>
                <a:spcPct val="130000"/>
              </a:lnSpc>
              <a:spcBef>
                <a:spcPts val="600"/>
              </a:spcBef>
              <a:buClr>
                <a:srgbClr val="13315E"/>
              </a:buClr>
              <a:buFont typeface="Symbol" panose="05050102010706020507" pitchFamily="18" charset="2"/>
              <a:buChar char="-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341438" indent="-266700">
              <a:buClr>
                <a:srgbClr val="13315E"/>
              </a:buClr>
              <a:buFont typeface="Symbol" panose="05050102010706020507" pitchFamily="18" charset="2"/>
              <a:buChar char="-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 dirty="0"/>
              <a:t>Editing Text master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pic>
        <p:nvPicPr>
          <p:cNvPr id="12" name="Picture 4" descr="C:\Users\ln\Desktop\PPT_Vorlage_Angebote2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41" b="81847"/>
          <a:stretch/>
        </p:blipFill>
        <p:spPr bwMode="auto">
          <a:xfrm>
            <a:off x="1" y="1124744"/>
            <a:ext cx="12192001" cy="239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682751" y="342181"/>
            <a:ext cx="10286933" cy="562074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noProof="0" dirty="0"/>
              <a:t>Title</a:t>
            </a:r>
          </a:p>
        </p:txBody>
      </p:sp>
      <p:sp>
        <p:nvSpPr>
          <p:cNvPr id="6" name="Foliennummernplatzhalter 1"/>
          <p:cNvSpPr>
            <a:spLocks noGrp="1"/>
          </p:cNvSpPr>
          <p:nvPr>
            <p:ph type="sldNum" sz="quarter" idx="4"/>
          </p:nvPr>
        </p:nvSpPr>
        <p:spPr>
          <a:xfrm>
            <a:off x="11040549" y="307410"/>
            <a:ext cx="8447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7E5629-5E8C-4ACA-B14E-CD150F30CCDD}" type="slidenum">
              <a:rPr lang="en-GB" noProof="0" smtClean="0"/>
              <a:pPr/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974879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AEC09ABE-AD2A-40C7-BE02-8D6A5F763BF0}"/>
              </a:ext>
            </a:extLst>
          </p:cNvPr>
          <p:cNvCxnSpPr/>
          <p:nvPr userDrawn="1"/>
        </p:nvCxnSpPr>
        <p:spPr>
          <a:xfrm>
            <a:off x="719999" y="1764000"/>
            <a:ext cx="134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platzhalter 15">
            <a:extLst>
              <a:ext uri="{FF2B5EF4-FFF2-40B4-BE49-F238E27FC236}">
                <a16:creationId xmlns:a16="http://schemas.microsoft.com/office/drawing/2014/main" id="{0DBE3578-AD7F-4F50-9857-1DD2A84654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78800" y="1857133"/>
            <a:ext cx="4007703" cy="698212"/>
          </a:xfrm>
        </p:spPr>
        <p:txBody>
          <a:bodyPr wrap="square" tIns="0">
            <a:noAutofit/>
          </a:bodyPr>
          <a:lstStyle>
            <a:lvl1pPr algn="l">
              <a:lnSpc>
                <a:spcPct val="100000"/>
              </a:lnSpc>
              <a:spcAft>
                <a:spcPts val="600"/>
              </a:spcAft>
              <a:tabLst>
                <a:tab pos="182563" algn="l"/>
              </a:tabLst>
              <a:defRPr sz="1700" cap="none" spc="0" baseline="0">
                <a:solidFill>
                  <a:schemeClr val="accent4"/>
                </a:solidFill>
              </a:defRPr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Funktion  |  Position  |  auch zweizeilig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BE5019AB-39A6-44C5-863C-C04584D3CE9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9999" y="1908000"/>
            <a:ext cx="1342800" cy="1699200"/>
          </a:xfrm>
          <a:solidFill>
            <a:schemeClr val="bg2"/>
          </a:solidFill>
        </p:spPr>
        <p:txBody>
          <a:bodyPr wrap="square" tIns="0" bIns="540000" anchor="ctr">
            <a:no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Portrait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50FE44F9-87CE-4838-9679-5666042C1ADF}"/>
              </a:ext>
            </a:extLst>
          </p:cNvPr>
          <p:cNvCxnSpPr/>
          <p:nvPr userDrawn="1"/>
        </p:nvCxnSpPr>
        <p:spPr>
          <a:xfrm>
            <a:off x="2278803" y="1764000"/>
            <a:ext cx="40077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9CA4D80-58A8-48AD-8B6A-8F1ECBC0FEA0}"/>
              </a:ext>
            </a:extLst>
          </p:cNvPr>
          <p:cNvCxnSpPr>
            <a:cxnSpLocks/>
          </p:cNvCxnSpPr>
          <p:nvPr userDrawn="1"/>
        </p:nvCxnSpPr>
        <p:spPr>
          <a:xfrm>
            <a:off x="6819900" y="1764000"/>
            <a:ext cx="46520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15">
            <a:extLst>
              <a:ext uri="{FF2B5EF4-FFF2-40B4-BE49-F238E27FC236}">
                <a16:creationId xmlns:a16="http://schemas.microsoft.com/office/drawing/2014/main" id="{438AE2FC-E8C3-43A9-A707-BAD4FA72CB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78800" y="2667004"/>
            <a:ext cx="4007703" cy="993775"/>
          </a:xfrm>
        </p:spPr>
        <p:txBody>
          <a:bodyPr wrap="square" tIns="0" anchor="b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63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Adresse</a:t>
            </a:r>
            <a:br>
              <a:rPr lang="de-DE" dirty="0"/>
            </a:br>
            <a:r>
              <a:rPr lang="de-DE" dirty="0"/>
              <a:t>Kurfürstenstraße 72 – 74</a:t>
            </a:r>
            <a:br>
              <a:rPr lang="de-DE" dirty="0"/>
            </a:br>
            <a:r>
              <a:rPr lang="de-DE" dirty="0"/>
              <a:t>10787 Berlin</a:t>
            </a:r>
          </a:p>
        </p:txBody>
      </p:sp>
      <p:sp>
        <p:nvSpPr>
          <p:cNvPr id="41" name="Textplatzhalter 15">
            <a:extLst>
              <a:ext uri="{FF2B5EF4-FFF2-40B4-BE49-F238E27FC236}">
                <a16:creationId xmlns:a16="http://schemas.microsoft.com/office/drawing/2014/main" id="{23057C50-88C9-4365-8E0C-44E6EAE73E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78801" y="4710695"/>
            <a:ext cx="4007703" cy="528056"/>
          </a:xfrm>
        </p:spPr>
        <p:txBody>
          <a:bodyPr wrap="square" tIns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63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Bereich eingeben </a:t>
            </a:r>
            <a:br>
              <a:rPr lang="de-DE" dirty="0"/>
            </a:br>
            <a:r>
              <a:rPr lang="de-DE" dirty="0"/>
              <a:t>auch zweizeilig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2278800" y="4433348"/>
            <a:ext cx="4007703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indent="0" algn="l" defTabSz="9144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82563" algn="l"/>
              </a:tabLst>
            </a:pPr>
            <a:r>
              <a:rPr lang="ru-RU" sz="1700" b="1" cap="none" spc="0" baseline="0" dirty="0">
                <a:solidFill>
                  <a:schemeClr val="accent4"/>
                </a:solidFill>
                <a:latin typeface="+mj-lt"/>
              </a:rPr>
              <a:t>Практика</a:t>
            </a:r>
            <a:endParaRPr lang="de-DE" sz="1700" b="1" cap="none" spc="0" baseline="0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48" name="Textplatzhalter 15">
            <a:extLst>
              <a:ext uri="{FF2B5EF4-FFF2-40B4-BE49-F238E27FC236}">
                <a16:creationId xmlns:a16="http://schemas.microsoft.com/office/drawing/2014/main" id="{26DB06FC-3496-4BEF-BDD4-B9337A2252E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57052" y="5417114"/>
            <a:ext cx="3729452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+49 XX XXXXX-XXX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B935C04-6484-4D75-8764-D184DCED57DC}"/>
              </a:ext>
            </a:extLst>
          </p:cNvPr>
          <p:cNvSpPr/>
          <p:nvPr userDrawn="1"/>
        </p:nvSpPr>
        <p:spPr>
          <a:xfrm>
            <a:off x="2278797" y="5417114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indent="0" algn="l" defTabSz="9144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82563" algn="l"/>
              </a:tabLst>
            </a:pPr>
            <a:r>
              <a:rPr lang="de-DE" sz="1700" b="1" i="0" cap="none" spc="0" baseline="0" dirty="0">
                <a:solidFill>
                  <a:schemeClr val="accent4"/>
                </a:solidFill>
                <a:latin typeface="+mj-lt"/>
              </a:rPr>
              <a:t>T</a:t>
            </a:r>
          </a:p>
        </p:txBody>
      </p:sp>
      <p:sp>
        <p:nvSpPr>
          <p:cNvPr id="50" name="Textplatzhalter 15">
            <a:extLst>
              <a:ext uri="{FF2B5EF4-FFF2-40B4-BE49-F238E27FC236}">
                <a16:creationId xmlns:a16="http://schemas.microsoft.com/office/drawing/2014/main" id="{A6C426AD-E048-4CEB-BDC5-13D8ADAFB5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57052" y="5705295"/>
            <a:ext cx="3729452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vorname.nachname@bblaw.com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E54096E-7C68-42B4-A80E-CE44F08263A2}"/>
              </a:ext>
            </a:extLst>
          </p:cNvPr>
          <p:cNvSpPr/>
          <p:nvPr userDrawn="1"/>
        </p:nvSpPr>
        <p:spPr>
          <a:xfrm>
            <a:off x="2278797" y="5705295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indent="0" algn="l" defTabSz="9144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82563" algn="l"/>
              </a:tabLst>
            </a:pPr>
            <a:r>
              <a:rPr lang="de-DE" sz="1700" b="1" i="0" cap="none" spc="0" baseline="0" dirty="0">
                <a:solidFill>
                  <a:schemeClr val="accent4"/>
                </a:solidFill>
                <a:latin typeface="+mj-lt"/>
              </a:rPr>
              <a:t>E</a:t>
            </a:r>
          </a:p>
        </p:txBody>
      </p:sp>
      <p:sp>
        <p:nvSpPr>
          <p:cNvPr id="55" name="Textplatzhalter 15">
            <a:extLst>
              <a:ext uri="{FF2B5EF4-FFF2-40B4-BE49-F238E27FC236}">
                <a16:creationId xmlns:a16="http://schemas.microsoft.com/office/drawing/2014/main" id="{B13936D6-B557-466B-8183-885D8F21F15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19900" y="2175175"/>
            <a:ext cx="4652086" cy="2757062"/>
          </a:xfrm>
        </p:spPr>
        <p:txBody>
          <a:bodyPr wrap="square" tIns="0">
            <a:noAutofit/>
          </a:bodyPr>
          <a:lstStyle>
            <a:lvl1pPr marL="171450" indent="-171450" algn="l">
              <a:lnSpc>
                <a:spcPct val="100000"/>
              </a:lnSpc>
              <a:spcAft>
                <a:spcPts val="600"/>
              </a:spcAft>
              <a:buClr>
                <a:srgbClr val="00899C"/>
              </a:buClr>
              <a:buFont typeface="Wingdings" panose="05000000000000000000" pitchFamily="2" charset="2"/>
              <a:buChar char="§"/>
              <a:tabLst>
                <a:tab pos="182563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Spezialisierung eingeben</a:t>
            </a:r>
          </a:p>
          <a:p>
            <a:pPr lvl="0"/>
            <a:r>
              <a:rPr lang="de-DE" dirty="0"/>
              <a:t> </a:t>
            </a:r>
          </a:p>
          <a:p>
            <a:pPr lvl="0"/>
            <a:r>
              <a:rPr lang="de-DE" dirty="0"/>
              <a:t> </a:t>
            </a:r>
          </a:p>
          <a:p>
            <a:pPr lvl="0"/>
            <a:r>
              <a:rPr lang="de-DE" dirty="0"/>
              <a:t> </a:t>
            </a:r>
          </a:p>
          <a:p>
            <a:pPr lvl="0"/>
            <a:r>
              <a:rPr lang="de-DE" dirty="0"/>
              <a:t> </a:t>
            </a:r>
          </a:p>
          <a:p>
            <a:pPr lvl="0"/>
            <a:r>
              <a:rPr lang="de-DE" dirty="0"/>
              <a:t> </a:t>
            </a:r>
          </a:p>
        </p:txBody>
      </p:sp>
      <p:sp>
        <p:nvSpPr>
          <p:cNvPr id="57" name="Textplatzhalter 15">
            <a:extLst>
              <a:ext uri="{FF2B5EF4-FFF2-40B4-BE49-F238E27FC236}">
                <a16:creationId xmlns:a16="http://schemas.microsoft.com/office/drawing/2014/main" id="{A0B6DC68-0775-43A7-BBA2-13E6F8A7E3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18313" y="5705302"/>
            <a:ext cx="3636000" cy="143997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Sprachen eingeb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C5A81F68-CDAB-4F86-B0D2-FC17A14E9F73}"/>
              </a:ext>
            </a:extLst>
          </p:cNvPr>
          <p:cNvCxnSpPr/>
          <p:nvPr userDrawn="1"/>
        </p:nvCxnSpPr>
        <p:spPr>
          <a:xfrm>
            <a:off x="2278803" y="5352935"/>
            <a:ext cx="40077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B20011F3-B3D5-4F94-8A7B-6666124605C4}"/>
              </a:ext>
            </a:extLst>
          </p:cNvPr>
          <p:cNvCxnSpPr/>
          <p:nvPr userDrawn="1"/>
        </p:nvCxnSpPr>
        <p:spPr>
          <a:xfrm>
            <a:off x="6819900" y="5352935"/>
            <a:ext cx="46520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>
            <a:extLst>
              <a:ext uri="{FF2B5EF4-FFF2-40B4-BE49-F238E27FC236}">
                <a16:creationId xmlns:a16="http://schemas.microsoft.com/office/drawing/2014/main" id="{B7A4E051-68C3-4BF3-86DD-8FC185587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 wrap="square">
            <a:noAutofit/>
          </a:bodyPr>
          <a:lstStyle>
            <a:lvl1pPr algn="l"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6819904" y="5421248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indent="0" defTabSz="9144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82563" algn="l"/>
              </a:tabLst>
            </a:pPr>
            <a:r>
              <a:rPr lang="ru-RU" sz="1700" b="1" cap="none" spc="0" baseline="0" dirty="0">
                <a:solidFill>
                  <a:schemeClr val="accent4"/>
                </a:solidFill>
                <a:latin typeface="+mj-lt"/>
              </a:rPr>
              <a:t>Языки</a:t>
            </a:r>
            <a:endParaRPr lang="de-DE" sz="1700" b="1" cap="none" spc="0" baseline="0" dirty="0">
              <a:solidFill>
                <a:schemeClr val="accent4"/>
              </a:solidFill>
              <a:latin typeface="+mj-lt"/>
            </a:endParaRPr>
          </a:p>
        </p:txBody>
      </p:sp>
      <p:pic>
        <p:nvPicPr>
          <p:cNvPr id="3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chteck 35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6819904" y="1915113"/>
            <a:ext cx="3531453" cy="15567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indent="0" algn="l" defTabSz="9144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82563" algn="l"/>
              </a:tabLst>
            </a:pPr>
            <a:r>
              <a:rPr lang="ru-RU" sz="1700" b="1" cap="none" spc="0" baseline="0" dirty="0">
                <a:solidFill>
                  <a:schemeClr val="accent4"/>
                </a:solidFill>
                <a:latin typeface="+mj-lt"/>
              </a:rPr>
              <a:t>Специализация</a:t>
            </a:r>
            <a:endParaRPr lang="de-DE" sz="1700" b="1" cap="none" spc="0" baseline="0" dirty="0">
              <a:solidFill>
                <a:schemeClr val="accent4"/>
              </a:solidFill>
              <a:latin typeface="+mj-lt"/>
            </a:endParaRPr>
          </a:p>
        </p:txBody>
      </p:sp>
      <p:sp>
        <p:nvSpPr>
          <p:cNvPr id="27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3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73062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AEC09ABE-AD2A-40C7-BE02-8D6A5F763BF0}"/>
              </a:ext>
            </a:extLst>
          </p:cNvPr>
          <p:cNvCxnSpPr/>
          <p:nvPr userDrawn="1"/>
        </p:nvCxnSpPr>
        <p:spPr>
          <a:xfrm>
            <a:off x="719999" y="1764000"/>
            <a:ext cx="134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platzhalter 15">
            <a:extLst>
              <a:ext uri="{FF2B5EF4-FFF2-40B4-BE49-F238E27FC236}">
                <a16:creationId xmlns:a16="http://schemas.microsoft.com/office/drawing/2014/main" id="{0DBE3578-AD7F-4F50-9857-1DD2A84654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77954" y="1857847"/>
            <a:ext cx="3636000" cy="408767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100" cap="none" spc="0" baseline="0">
                <a:solidFill>
                  <a:srgbClr val="00899C"/>
                </a:solidFill>
              </a:defRPr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Funktion  |  Position  |  auch zweizeilig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BE5019AB-39A6-44C5-863C-C04584D3CE9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9999" y="1908000"/>
            <a:ext cx="1342800" cy="1699200"/>
          </a:xfrm>
          <a:solidFill>
            <a:schemeClr val="bg2"/>
          </a:solidFill>
        </p:spPr>
        <p:txBody>
          <a:bodyPr wrap="square" tIns="0" bIns="540000" anchor="ctr">
            <a:no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Portrait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50FE44F9-87CE-4838-9679-5666042C1ADF}"/>
              </a:ext>
            </a:extLst>
          </p:cNvPr>
          <p:cNvCxnSpPr/>
          <p:nvPr userDrawn="1"/>
        </p:nvCxnSpPr>
        <p:spPr>
          <a:xfrm>
            <a:off x="2278799" y="1764000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15">
            <a:extLst>
              <a:ext uri="{FF2B5EF4-FFF2-40B4-BE49-F238E27FC236}">
                <a16:creationId xmlns:a16="http://schemas.microsoft.com/office/drawing/2014/main" id="{438AE2FC-E8C3-43A9-A707-BAD4FA72CB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77954" y="2264573"/>
            <a:ext cx="3636000" cy="574521"/>
          </a:xfrm>
        </p:spPr>
        <p:txBody>
          <a:bodyPr wrap="square" tIns="0" anchor="b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Adresse</a:t>
            </a:r>
            <a:br>
              <a:rPr lang="de-DE" dirty="0"/>
            </a:br>
            <a:r>
              <a:rPr lang="de-DE" dirty="0"/>
              <a:t>Kurfürstenstraße 72 – 74</a:t>
            </a:r>
            <a:br>
              <a:rPr lang="de-DE" dirty="0"/>
            </a:br>
            <a:r>
              <a:rPr lang="de-DE" dirty="0"/>
              <a:t>10787 Berlin</a:t>
            </a:r>
          </a:p>
        </p:txBody>
      </p:sp>
      <p:sp>
        <p:nvSpPr>
          <p:cNvPr id="41" name="Textplatzhalter 15">
            <a:extLst>
              <a:ext uri="{FF2B5EF4-FFF2-40B4-BE49-F238E27FC236}">
                <a16:creationId xmlns:a16="http://schemas.microsoft.com/office/drawing/2014/main" id="{23057C50-88C9-4365-8E0C-44E6EAE73E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74223" y="3067860"/>
            <a:ext cx="2640581" cy="396000"/>
          </a:xfrm>
        </p:spPr>
        <p:txBody>
          <a:bodyPr wrap="square" tIns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Bereich eingeben </a:t>
            </a:r>
            <a:br>
              <a:rPr lang="de-DE" dirty="0"/>
            </a:br>
            <a:r>
              <a:rPr lang="de-DE" dirty="0"/>
              <a:t>auch zweizeilig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2277958" y="3050524"/>
            <a:ext cx="972000" cy="180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indent="0" algn="l" defTabSz="9144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82563" algn="l"/>
              </a:tabLst>
            </a:pPr>
            <a:r>
              <a:rPr lang="de-DE" sz="1100" b="1" cap="none" spc="0" baseline="0" dirty="0">
                <a:solidFill>
                  <a:srgbClr val="00899C"/>
                </a:solidFill>
                <a:latin typeface="+mj-lt"/>
              </a:rPr>
              <a:t>Praxisgruppe</a:t>
            </a:r>
          </a:p>
        </p:txBody>
      </p:sp>
      <p:sp>
        <p:nvSpPr>
          <p:cNvPr id="48" name="Textplatzhalter 15">
            <a:extLst>
              <a:ext uri="{FF2B5EF4-FFF2-40B4-BE49-F238E27FC236}">
                <a16:creationId xmlns:a16="http://schemas.microsoft.com/office/drawing/2014/main" id="{26DB06FC-3496-4BEF-BDD4-B9337A2252E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57052" y="3460217"/>
            <a:ext cx="3357751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+49 XX XXXXX-XXX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B935C04-6484-4D75-8764-D184DCED57DC}"/>
              </a:ext>
            </a:extLst>
          </p:cNvPr>
          <p:cNvSpPr/>
          <p:nvPr userDrawn="1"/>
        </p:nvSpPr>
        <p:spPr>
          <a:xfrm>
            <a:off x="2277954" y="3458552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indent="0" algn="l" defTabSz="9144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82563" algn="l"/>
              </a:tabLst>
            </a:pPr>
            <a:r>
              <a:rPr lang="de-DE" sz="1100" b="1" i="0" cap="none" spc="0" baseline="0" dirty="0">
                <a:solidFill>
                  <a:schemeClr val="accent4"/>
                </a:solidFill>
                <a:latin typeface="+mj-lt"/>
              </a:rPr>
              <a:t>T</a:t>
            </a:r>
          </a:p>
        </p:txBody>
      </p:sp>
      <p:sp>
        <p:nvSpPr>
          <p:cNvPr id="50" name="Textplatzhalter 15">
            <a:extLst>
              <a:ext uri="{FF2B5EF4-FFF2-40B4-BE49-F238E27FC236}">
                <a16:creationId xmlns:a16="http://schemas.microsoft.com/office/drawing/2014/main" id="{A6C426AD-E048-4CEB-BDC5-13D8ADAFB5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57052" y="3664592"/>
            <a:ext cx="3357751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vorname.nachname@bblaw.com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E54096E-7C68-42B4-A80E-CE44F08263A2}"/>
              </a:ext>
            </a:extLst>
          </p:cNvPr>
          <p:cNvSpPr/>
          <p:nvPr userDrawn="1"/>
        </p:nvSpPr>
        <p:spPr>
          <a:xfrm>
            <a:off x="2277954" y="3662923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indent="0" algn="l" defTabSz="9144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82563" algn="l"/>
              </a:tabLst>
            </a:pPr>
            <a:r>
              <a:rPr lang="de-DE" sz="1100" b="1" i="0" cap="none" spc="0" baseline="0" dirty="0">
                <a:solidFill>
                  <a:schemeClr val="accent4"/>
                </a:solidFill>
                <a:latin typeface="+mj-lt"/>
              </a:rPr>
              <a:t>E</a:t>
            </a:r>
          </a:p>
        </p:txBody>
      </p:sp>
      <p:sp>
        <p:nvSpPr>
          <p:cNvPr id="55" name="Textplatzhalter 15">
            <a:extLst>
              <a:ext uri="{FF2B5EF4-FFF2-40B4-BE49-F238E27FC236}">
                <a16:creationId xmlns:a16="http://schemas.microsoft.com/office/drawing/2014/main" id="{B13936D6-B557-466B-8183-885D8F21F15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77954" y="4293638"/>
            <a:ext cx="3636000" cy="1260000"/>
          </a:xfrm>
        </p:spPr>
        <p:txBody>
          <a:bodyPr wrap="square" tIns="0">
            <a:noAutofit/>
          </a:bodyPr>
          <a:lstStyle>
            <a:lvl1pPr marL="171450" indent="-171450" algn="l">
              <a:lnSpc>
                <a:spcPts val="1600"/>
              </a:lnSpc>
              <a:spcAft>
                <a:spcPts val="0"/>
              </a:spcAft>
              <a:buClr>
                <a:srgbClr val="00899C"/>
              </a:buClr>
              <a:buFont typeface="Wingdings" panose="05000000000000000000" pitchFamily="2" charset="2"/>
              <a:buChar char="§"/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Spezialisierung eingeb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C5A81F68-CDAB-4F86-B0D2-FC17A14E9F73}"/>
              </a:ext>
            </a:extLst>
          </p:cNvPr>
          <p:cNvCxnSpPr/>
          <p:nvPr userDrawn="1"/>
        </p:nvCxnSpPr>
        <p:spPr>
          <a:xfrm>
            <a:off x="2278799" y="3970115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>
            <a:extLst>
              <a:ext uri="{FF2B5EF4-FFF2-40B4-BE49-F238E27FC236}">
                <a16:creationId xmlns:a16="http://schemas.microsoft.com/office/drawing/2014/main" id="{B7A4E051-68C3-4BF3-86DD-8FC185587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720003"/>
            <a:ext cx="5194800" cy="792000"/>
          </a:xfrm>
        </p:spPr>
        <p:txBody>
          <a:bodyPr wrap="square">
            <a:noAutofit/>
          </a:bodyPr>
          <a:lstStyle>
            <a:lvl1pPr algn="l">
              <a:defRPr spc="60" baseline="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7736D829-D252-467B-823D-5E89F4482759}"/>
              </a:ext>
            </a:extLst>
          </p:cNvPr>
          <p:cNvCxnSpPr/>
          <p:nvPr userDrawn="1"/>
        </p:nvCxnSpPr>
        <p:spPr>
          <a:xfrm>
            <a:off x="6277202" y="1764000"/>
            <a:ext cx="134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80ECECF0-8DDA-48D6-A9B0-DB1A178E398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36004" y="1857847"/>
            <a:ext cx="3636000" cy="408767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100" cap="none" spc="0" baseline="0">
                <a:solidFill>
                  <a:schemeClr val="accent4"/>
                </a:solidFill>
              </a:defRPr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Funktion  |  Position  |  auch zweizeilig</a:t>
            </a:r>
          </a:p>
        </p:txBody>
      </p:sp>
      <p:sp>
        <p:nvSpPr>
          <p:cNvPr id="27" name="Bildplatzhalter 30">
            <a:extLst>
              <a:ext uri="{FF2B5EF4-FFF2-40B4-BE49-F238E27FC236}">
                <a16:creationId xmlns:a16="http://schemas.microsoft.com/office/drawing/2014/main" id="{4935B6D7-8E58-49AF-A83D-D1376A237C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77202" y="1908000"/>
            <a:ext cx="1342800" cy="1699200"/>
          </a:xfrm>
          <a:solidFill>
            <a:schemeClr val="bg2"/>
          </a:solidFill>
        </p:spPr>
        <p:txBody>
          <a:bodyPr wrap="square" tIns="0" bIns="540000" anchor="ctr">
            <a:no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Portrait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D3D95ABC-68E4-4F66-824B-147332A09981}"/>
              </a:ext>
            </a:extLst>
          </p:cNvPr>
          <p:cNvCxnSpPr/>
          <p:nvPr userDrawn="1"/>
        </p:nvCxnSpPr>
        <p:spPr>
          <a:xfrm>
            <a:off x="7836006" y="1764000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15">
            <a:extLst>
              <a:ext uri="{FF2B5EF4-FFF2-40B4-BE49-F238E27FC236}">
                <a16:creationId xmlns:a16="http://schemas.microsoft.com/office/drawing/2014/main" id="{30CCF38B-383C-41A2-A127-FD319E715E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36004" y="2264573"/>
            <a:ext cx="3636000" cy="574521"/>
          </a:xfrm>
        </p:spPr>
        <p:txBody>
          <a:bodyPr wrap="square" tIns="0" anchor="b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Adresse</a:t>
            </a:r>
            <a:br>
              <a:rPr lang="de-DE" dirty="0"/>
            </a:br>
            <a:r>
              <a:rPr lang="de-DE" dirty="0"/>
              <a:t>Kurfürstenstraße 72 – 74</a:t>
            </a:r>
            <a:br>
              <a:rPr lang="de-DE" dirty="0"/>
            </a:br>
            <a:r>
              <a:rPr lang="de-DE" dirty="0"/>
              <a:t>10787 Berlin</a:t>
            </a:r>
          </a:p>
        </p:txBody>
      </p:sp>
      <p:sp>
        <p:nvSpPr>
          <p:cNvPr id="33" name="Textplatzhalter 15">
            <a:extLst>
              <a:ext uri="{FF2B5EF4-FFF2-40B4-BE49-F238E27FC236}">
                <a16:creationId xmlns:a16="http://schemas.microsoft.com/office/drawing/2014/main" id="{3300BC44-E531-4F0B-85CF-BB44846DE0F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31426" y="3067860"/>
            <a:ext cx="2640581" cy="396000"/>
          </a:xfrm>
        </p:spPr>
        <p:txBody>
          <a:bodyPr wrap="square" tIns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Bereich eingeben </a:t>
            </a:r>
            <a:br>
              <a:rPr lang="de-DE" dirty="0"/>
            </a:br>
            <a:r>
              <a:rPr lang="de-DE" dirty="0"/>
              <a:t>auch zweizeilig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E5557544-5A9F-44DE-9A47-DDAF4E2786CC}"/>
              </a:ext>
            </a:extLst>
          </p:cNvPr>
          <p:cNvSpPr/>
          <p:nvPr userDrawn="1"/>
        </p:nvSpPr>
        <p:spPr>
          <a:xfrm>
            <a:off x="7836000" y="3050524"/>
            <a:ext cx="972000" cy="180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indent="0" algn="l" defTabSz="9144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82563" algn="l"/>
              </a:tabLst>
            </a:pPr>
            <a:r>
              <a:rPr lang="de-DE" sz="1100" b="1" cap="none" spc="0" baseline="0" dirty="0">
                <a:solidFill>
                  <a:schemeClr val="accent4"/>
                </a:solidFill>
                <a:latin typeface="+mj-lt"/>
              </a:rPr>
              <a:t>Praxisgruppe</a:t>
            </a:r>
          </a:p>
        </p:txBody>
      </p:sp>
      <p:sp>
        <p:nvSpPr>
          <p:cNvPr id="35" name="Textplatzhalter 15">
            <a:extLst>
              <a:ext uri="{FF2B5EF4-FFF2-40B4-BE49-F238E27FC236}">
                <a16:creationId xmlns:a16="http://schemas.microsoft.com/office/drawing/2014/main" id="{F2999124-3124-4797-8EA9-4966132A347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14251" y="3458688"/>
            <a:ext cx="3357751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+49 XX XXXXX-XXX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4CDE5877-5A28-4090-ADB9-9B5BF9CDBCCE}"/>
              </a:ext>
            </a:extLst>
          </p:cNvPr>
          <p:cNvSpPr/>
          <p:nvPr userDrawn="1"/>
        </p:nvSpPr>
        <p:spPr>
          <a:xfrm>
            <a:off x="7836004" y="3461955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indent="0" algn="l" defTabSz="9144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82563" algn="l"/>
              </a:tabLst>
            </a:pPr>
            <a:r>
              <a:rPr lang="de-DE" sz="1100" b="1" i="0" cap="none" spc="0" baseline="0" dirty="0">
                <a:solidFill>
                  <a:schemeClr val="accent4"/>
                </a:solidFill>
                <a:latin typeface="+mj-lt"/>
              </a:rPr>
              <a:t>T</a:t>
            </a:r>
          </a:p>
        </p:txBody>
      </p:sp>
      <p:sp>
        <p:nvSpPr>
          <p:cNvPr id="43" name="Textplatzhalter 15">
            <a:extLst>
              <a:ext uri="{FF2B5EF4-FFF2-40B4-BE49-F238E27FC236}">
                <a16:creationId xmlns:a16="http://schemas.microsoft.com/office/drawing/2014/main" id="{E68128DA-E42A-4D9C-94CE-C1D44062B5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4251" y="3664592"/>
            <a:ext cx="3357751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vorname.nachname@bblaw.com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9B7C2E97-D2D0-46B4-931F-3DB4D2FF5C12}"/>
              </a:ext>
            </a:extLst>
          </p:cNvPr>
          <p:cNvSpPr/>
          <p:nvPr userDrawn="1"/>
        </p:nvSpPr>
        <p:spPr>
          <a:xfrm>
            <a:off x="7836004" y="3664592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indent="0" algn="l" defTabSz="9144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82563" algn="l"/>
              </a:tabLst>
            </a:pPr>
            <a:r>
              <a:rPr lang="de-DE" sz="1100" b="1" i="0" cap="none" spc="0" baseline="0" dirty="0">
                <a:solidFill>
                  <a:schemeClr val="accent4"/>
                </a:solidFill>
                <a:latin typeface="+mj-lt"/>
              </a:rPr>
              <a:t>E</a:t>
            </a:r>
          </a:p>
        </p:txBody>
      </p:sp>
      <p:sp>
        <p:nvSpPr>
          <p:cNvPr id="46" name="Textplatzhalter 15">
            <a:extLst>
              <a:ext uri="{FF2B5EF4-FFF2-40B4-BE49-F238E27FC236}">
                <a16:creationId xmlns:a16="http://schemas.microsoft.com/office/drawing/2014/main" id="{95683C92-07E1-4548-9373-5AAE3DB6AEF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836004" y="4293641"/>
            <a:ext cx="3636000" cy="1259997"/>
          </a:xfrm>
        </p:spPr>
        <p:txBody>
          <a:bodyPr wrap="square" tIns="0">
            <a:noAutofit/>
          </a:bodyPr>
          <a:lstStyle>
            <a:lvl1pPr marL="171450" indent="-171450" algn="l">
              <a:lnSpc>
                <a:spcPts val="1600"/>
              </a:lnSpc>
              <a:spcAft>
                <a:spcPts val="0"/>
              </a:spcAft>
              <a:buClr>
                <a:srgbClr val="00899C"/>
              </a:buClr>
              <a:buFont typeface="Wingdings" panose="05000000000000000000" pitchFamily="2" charset="2"/>
              <a:buChar char="§"/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Spezialisierung eingeben</a:t>
            </a:r>
          </a:p>
        </p:txBody>
      </p:sp>
      <p:sp>
        <p:nvSpPr>
          <p:cNvPr id="52" name="Textplatzhalter 15">
            <a:extLst>
              <a:ext uri="{FF2B5EF4-FFF2-40B4-BE49-F238E27FC236}">
                <a16:creationId xmlns:a16="http://schemas.microsoft.com/office/drawing/2014/main" id="{6C099A96-E9CE-460B-B59E-CD1AD09BAAD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836004" y="5970189"/>
            <a:ext cx="3636000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Sprachen eingeben</a:t>
            </a:r>
          </a:p>
        </p:txBody>
      </p: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A7F6EB79-B11C-425E-8AA5-8ECA3B61134A}"/>
              </a:ext>
            </a:extLst>
          </p:cNvPr>
          <p:cNvCxnSpPr/>
          <p:nvPr userDrawn="1"/>
        </p:nvCxnSpPr>
        <p:spPr>
          <a:xfrm>
            <a:off x="7836006" y="3970115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5038D851-E937-40AF-AF4C-F3E50DEAD46E}"/>
              </a:ext>
            </a:extLst>
          </p:cNvPr>
          <p:cNvCxnSpPr/>
          <p:nvPr userDrawn="1"/>
        </p:nvCxnSpPr>
        <p:spPr>
          <a:xfrm>
            <a:off x="7836006" y="5641586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2EC7159-F8F3-4048-931D-C8DB2C0F10C9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77202" y="720003"/>
            <a:ext cx="5194784" cy="792000"/>
          </a:xfrm>
        </p:spPr>
        <p:txBody>
          <a:bodyPr vert="horz" wrap="square" lIns="0" tIns="0" rIns="0" bIns="0" rtlCol="0" anchor="t">
            <a:noAutofit/>
          </a:bodyPr>
          <a:lstStyle>
            <a:lvl1pPr algn="l">
              <a:defRPr lang="de-DE" sz="2400" cap="all" spc="60" dirty="0">
                <a:ea typeface="+mj-ea"/>
                <a:cs typeface="+mj-cs"/>
              </a:defRPr>
            </a:lvl1pPr>
          </a:lstStyle>
          <a:p>
            <a:pPr lvl="0" algn="l">
              <a:lnSpc>
                <a:spcPts val="3100"/>
              </a:lnSpc>
              <a:spcBef>
                <a:spcPct val="0"/>
              </a:spcBef>
              <a:tabLst>
                <a:tab pos="444500" algn="l"/>
              </a:tabLst>
            </a:pPr>
            <a:r>
              <a:rPr lang="de-DE"/>
              <a:t>Textmasterformat bearbeiten</a:t>
            </a:r>
          </a:p>
        </p:txBody>
      </p:sp>
      <p:sp>
        <p:nvSpPr>
          <p:cNvPr id="60" name="Textplatzhalter 15">
            <a:extLst>
              <a:ext uri="{FF2B5EF4-FFF2-40B4-BE49-F238E27FC236}">
                <a16:creationId xmlns:a16="http://schemas.microsoft.com/office/drawing/2014/main" id="{9284B8AD-B901-4B84-BA90-3DA673DDC7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77954" y="5970185"/>
            <a:ext cx="3636000" cy="143997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Sprachen eingeben</a:t>
            </a:r>
          </a:p>
        </p:txBody>
      </p: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F0E8DD84-DF77-440C-9F27-2A062AD1EDAE}"/>
              </a:ext>
            </a:extLst>
          </p:cNvPr>
          <p:cNvCxnSpPr/>
          <p:nvPr userDrawn="1"/>
        </p:nvCxnSpPr>
        <p:spPr>
          <a:xfrm>
            <a:off x="2278799" y="5641586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hteck 55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2277954" y="4089104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indent="0" algn="l" defTabSz="9144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82563" algn="l"/>
              </a:tabLst>
            </a:pPr>
            <a:r>
              <a:rPr lang="de-DE" sz="1100" b="1" cap="none" spc="0" baseline="0" dirty="0">
                <a:solidFill>
                  <a:schemeClr val="accent4"/>
                </a:solidFill>
                <a:latin typeface="+mj-lt"/>
              </a:rPr>
              <a:t>Spezialgebiete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7836004" y="4090801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indent="0" algn="l" defTabSz="9144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82563" algn="l"/>
              </a:tabLst>
            </a:pPr>
            <a:r>
              <a:rPr lang="de-DE" sz="1100" b="1" cap="none" spc="0" baseline="0" dirty="0">
                <a:solidFill>
                  <a:schemeClr val="accent4"/>
                </a:solidFill>
                <a:latin typeface="+mj-lt"/>
              </a:rPr>
              <a:t>Spezialgebiete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2277954" y="5767726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indent="0" algn="l" defTabSz="9144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82563" algn="l"/>
              </a:tabLst>
            </a:pPr>
            <a:r>
              <a:rPr lang="de-DE" sz="1100" b="1" cap="none" spc="0" baseline="0" dirty="0">
                <a:solidFill>
                  <a:srgbClr val="00899C"/>
                </a:solidFill>
                <a:latin typeface="+mj-lt"/>
              </a:rPr>
              <a:t>Sprachen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7836004" y="5767726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 indent="0" algn="l" defTabSz="914400">
              <a:lnSpc>
                <a:spcPts val="1600"/>
              </a:lnSpc>
              <a:spcBef>
                <a:spcPts val="0"/>
              </a:spcBef>
              <a:spcAft>
                <a:spcPts val="600"/>
              </a:spcAft>
              <a:buFontTx/>
              <a:buNone/>
              <a:tabLst>
                <a:tab pos="182563" algn="l"/>
              </a:tabLst>
            </a:pPr>
            <a:r>
              <a:rPr lang="de-DE" sz="1100" b="1" cap="none" spc="0" baseline="0" dirty="0">
                <a:solidFill>
                  <a:srgbClr val="00899C"/>
                </a:solidFill>
                <a:latin typeface="+mj-lt"/>
              </a:rPr>
              <a:t>Sprachen</a:t>
            </a:r>
          </a:p>
        </p:txBody>
      </p:sp>
      <p:pic>
        <p:nvPicPr>
          <p:cNvPr id="7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4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5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435958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nzleiüberblick ein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6996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4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2200"/>
              </a:lnSpc>
            </a:pPr>
            <a:endParaRPr lang="de-DE" sz="24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585079" y="5"/>
            <a:ext cx="4606925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17C61F-8D2B-4B28-AC3B-49847D206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720003"/>
            <a:ext cx="5507764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D6FEAB31-C8DB-407E-8E7B-D21BC3BFA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507764" cy="41352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BEITEN BURKHARDT | 28/05/2020</a:t>
            </a:r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| Title of Presentation OR Event</a:t>
            </a:r>
            <a:endParaRPr lang="de-DE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5624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tionale Strategie_ein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E7F38DB-160E-4457-9A09-47BC361978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02" y="2609840"/>
            <a:ext cx="2864577" cy="1466865"/>
          </a:xfrm>
        </p:spPr>
        <p:txBody>
          <a:bodyPr tIns="0"/>
          <a:lstStyle>
            <a:lvl1pPr algn="l">
              <a:defRPr sz="7000"/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55793B-72DF-46FB-BD0D-7ACA802175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9427" y="3613153"/>
            <a:ext cx="2863991" cy="228282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 marL="354013" indent="-176213">
              <a:buClr>
                <a:schemeClr val="accent4"/>
              </a:buClr>
              <a:buFont typeface="Wingdings" panose="05000000000000000000" pitchFamily="2" charset="2"/>
              <a:buChar char="§"/>
              <a:defRPr sz="1400"/>
            </a:lvl4pPr>
            <a:lvl5pPr marL="354013" indent="-269875"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83CB1899-849D-4DA3-B596-8968912A29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63707" y="2609840"/>
            <a:ext cx="2864577" cy="1466865"/>
          </a:xfrm>
        </p:spPr>
        <p:txBody>
          <a:bodyPr tIns="0"/>
          <a:lstStyle>
            <a:lvl1pPr algn="l">
              <a:defRPr sz="70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B53AB505-F2BA-4167-80DC-A88F00FEC91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63707" y="3613153"/>
            <a:ext cx="2863991" cy="228282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 marL="354013" indent="-176213">
              <a:buClr>
                <a:schemeClr val="accent4"/>
              </a:buClr>
              <a:buFont typeface="Wingdings" panose="05000000000000000000" pitchFamily="2" charset="2"/>
              <a:buChar char="§"/>
              <a:defRPr sz="1400"/>
            </a:lvl4pPr>
            <a:lvl5pPr marL="354013" indent="-269875"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47CF6758-5BFF-4FAB-BFEB-642AE33CBF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07409" y="2609840"/>
            <a:ext cx="2864577" cy="1466865"/>
          </a:xfrm>
        </p:spPr>
        <p:txBody>
          <a:bodyPr tIns="0"/>
          <a:lstStyle>
            <a:lvl1pPr algn="l">
              <a:defRPr sz="7000">
                <a:solidFill>
                  <a:srgbClr val="4F81BD"/>
                </a:solidFill>
              </a:defRPr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28086083-D834-4197-BDEC-9C1F4476D99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607995" y="3613153"/>
            <a:ext cx="2863991" cy="228282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 marL="354013" indent="-176213">
              <a:buClr>
                <a:schemeClr val="accent4"/>
              </a:buClr>
              <a:buFont typeface="Wingdings" panose="05000000000000000000" pitchFamily="2" charset="2"/>
              <a:buChar char="§"/>
              <a:defRPr sz="1400"/>
            </a:lvl4pPr>
            <a:lvl5pPr marL="354013" indent="-260350"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BEITEN BURKHARDT | 28/05/2020</a:t>
            </a:r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| Title of Presentation OR Event</a:t>
            </a:r>
            <a:endParaRPr lang="de-DE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sz="quarter" idx="24"/>
          </p:nvPr>
        </p:nvSpPr>
        <p:spPr>
          <a:xfrm>
            <a:off x="723904" y="1724025"/>
            <a:ext cx="10755313" cy="8763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62638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5330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4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2200"/>
              </a:lnSpc>
            </a:pPr>
            <a:endParaRPr lang="de-DE" sz="24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F33B075-CEB5-4EAB-8734-48D3EF22973E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783638" y="0"/>
            <a:ext cx="3408362" cy="6858000"/>
          </a:xfrm>
          <a:solidFill>
            <a:schemeClr val="accent5"/>
          </a:solidFill>
        </p:spPr>
        <p:txBody>
          <a:bodyPr tIns="0" bIns="648000" anchor="ctr"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7DBCBE2-4BD6-4072-885D-41F9AE6D2D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999" y="1763999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I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18050635-1AE6-44ED-AF07-F716D0682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6984001" cy="792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5F206850-7AF5-47C4-B54C-636F17582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294007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II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B4EDA23C-7654-4389-A189-2A223294E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999" y="2824019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III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C27E598-4264-4D34-8C58-D6E049D80E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3354027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IV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F0B8657D-338A-4825-8BBB-B7608139A3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9999" y="3884031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FD29DAD5-12A9-4C52-8136-A83681CEFC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9999" y="4414039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I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57871947-95FF-486C-9C4C-1E842089D8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999" y="4944052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II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ADAF4D09-4685-4C29-976D-379E0BFCAE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5904" y="176399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Textmasterformat bearbeiten</a:t>
            </a:r>
          </a:p>
        </p:txBody>
      </p:sp>
      <p:sp>
        <p:nvSpPr>
          <p:cNvPr id="24" name="Textplatzhalter 20">
            <a:extLst>
              <a:ext uri="{FF2B5EF4-FFF2-40B4-BE49-F238E27FC236}">
                <a16:creationId xmlns:a16="http://schemas.microsoft.com/office/drawing/2014/main" id="{D5304A5C-B4F3-4438-9E54-00137B9241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5904" y="2294007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5" name="Textplatzhalter 20">
            <a:extLst>
              <a:ext uri="{FF2B5EF4-FFF2-40B4-BE49-F238E27FC236}">
                <a16:creationId xmlns:a16="http://schemas.microsoft.com/office/drawing/2014/main" id="{B76EF237-509B-4FD6-BDC1-C11BA3EF2C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85904" y="282401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Textplatzhalter 20">
            <a:extLst>
              <a:ext uri="{FF2B5EF4-FFF2-40B4-BE49-F238E27FC236}">
                <a16:creationId xmlns:a16="http://schemas.microsoft.com/office/drawing/2014/main" id="{724E0103-4AAE-4272-B0F4-B3876221FC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5904" y="3354027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7" name="Textplatzhalter 20">
            <a:extLst>
              <a:ext uri="{FF2B5EF4-FFF2-40B4-BE49-F238E27FC236}">
                <a16:creationId xmlns:a16="http://schemas.microsoft.com/office/drawing/2014/main" id="{29201282-4D9C-4360-B2B3-0C4772A0428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5904" y="3884031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8" name="Textplatzhalter 20">
            <a:extLst>
              <a:ext uri="{FF2B5EF4-FFF2-40B4-BE49-F238E27FC236}">
                <a16:creationId xmlns:a16="http://schemas.microsoft.com/office/drawing/2014/main" id="{A32C05CD-960E-4F01-A1CB-CBA9F0C12F9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5904" y="441403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9" name="Textplatzhalter 20">
            <a:extLst>
              <a:ext uri="{FF2B5EF4-FFF2-40B4-BE49-F238E27FC236}">
                <a16:creationId xmlns:a16="http://schemas.microsoft.com/office/drawing/2014/main" id="{5644FC63-1A5A-41B0-878B-4988056C545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5904" y="4944052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0" name="Textplatzhalter 20">
            <a:extLst>
              <a:ext uri="{FF2B5EF4-FFF2-40B4-BE49-F238E27FC236}">
                <a16:creationId xmlns:a16="http://schemas.microsoft.com/office/drawing/2014/main" id="{84412FD8-546C-4BAE-B20E-89DC4F387C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93600" y="176399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32" name="Textplatzhalter 20">
            <a:extLst>
              <a:ext uri="{FF2B5EF4-FFF2-40B4-BE49-F238E27FC236}">
                <a16:creationId xmlns:a16="http://schemas.microsoft.com/office/drawing/2014/main" id="{8842EE9F-92C2-4E41-8B31-C8E83EBA2E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93600" y="2294007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33" name="Textplatzhalter 20">
            <a:extLst>
              <a:ext uri="{FF2B5EF4-FFF2-40B4-BE49-F238E27FC236}">
                <a16:creationId xmlns:a16="http://schemas.microsoft.com/office/drawing/2014/main" id="{0F90BCA9-CB13-443E-A9D6-ACB1B6E29E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93600" y="282401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34" name="Textplatzhalter 20">
            <a:extLst>
              <a:ext uri="{FF2B5EF4-FFF2-40B4-BE49-F238E27FC236}">
                <a16:creationId xmlns:a16="http://schemas.microsoft.com/office/drawing/2014/main" id="{33231675-FAFD-4D47-B349-E3DE2C5882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93600" y="3354027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35" name="Textplatzhalter 20">
            <a:extLst>
              <a:ext uri="{FF2B5EF4-FFF2-40B4-BE49-F238E27FC236}">
                <a16:creationId xmlns:a16="http://schemas.microsoft.com/office/drawing/2014/main" id="{C3CFDF56-750F-4E20-AED0-847DA36C08D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3600" y="3884031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36" name="Textplatzhalter 20">
            <a:extLst>
              <a:ext uri="{FF2B5EF4-FFF2-40B4-BE49-F238E27FC236}">
                <a16:creationId xmlns:a16="http://schemas.microsoft.com/office/drawing/2014/main" id="{94267A60-874B-4852-BD2E-EBDDF4592FC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93600" y="441403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</a:t>
            </a:r>
          </a:p>
        </p:txBody>
      </p:sp>
      <p:sp>
        <p:nvSpPr>
          <p:cNvPr id="37" name="Textplatzhalter 20">
            <a:extLst>
              <a:ext uri="{FF2B5EF4-FFF2-40B4-BE49-F238E27FC236}">
                <a16:creationId xmlns:a16="http://schemas.microsoft.com/office/drawing/2014/main" id="{E008922D-28D6-4155-84B4-B8F84F61F8B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93600" y="4944052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</a:t>
            </a:r>
          </a:p>
        </p:txBody>
      </p:sp>
      <p:pic>
        <p:nvPicPr>
          <p:cNvPr id="47" name="Grafik 4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3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3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4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9598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bales Netzwerk_ein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0" y="1655999"/>
            <a:ext cx="5194784" cy="414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35ACC148-410C-4F10-8110-9462A4FDE40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92919" y="1655999"/>
            <a:ext cx="5194784" cy="414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BEITEN BURKHARDT | 28/05/2020</a:t>
            </a:r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| Title of Presentation OR Event</a:t>
            </a:r>
            <a:endParaRPr lang="de-DE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421566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ort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E4D72C8-8334-4C32-BCBC-D405EE84DB10}"/>
              </a:ext>
            </a:extLst>
          </p:cNvPr>
          <p:cNvSpPr/>
          <p:nvPr userDrawn="1"/>
        </p:nvSpPr>
        <p:spPr>
          <a:xfrm>
            <a:off x="4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>
              <a:lnSpc>
                <a:spcPts val="2200"/>
              </a:lnSpc>
            </a:pPr>
            <a:endParaRPr lang="de-DE" sz="1700" dirty="0">
              <a:latin typeface="+mj-lt"/>
            </a:endParaRPr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3" y="720003"/>
            <a:ext cx="10751987" cy="79200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e Standort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7BA4690-8A97-4744-8009-CC185E1981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801FC98-A3D8-45C1-8E79-A0AF72AA5A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86E9BDB6-EFB2-449E-BAA5-F7E864ECD6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C2613F-F17E-478E-8D88-D545B0EFC7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8698" y="1764372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2A0D8B37-A108-4D18-9124-C3677520884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8694" y="1926736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6F80746F-026C-45AE-9681-251395FA44E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8698" y="2089108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1B0C9964-697C-4703-BD9C-54FB04BADC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698" y="2251472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167B3649-5E08-4DCB-80FE-40A0764FEB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8694" y="2413844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0DD34ECA-CAC5-41EE-A095-FD3837277F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8698" y="2413844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FDAF70A9-B2F7-4A05-BA3F-F678949171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8694" y="257621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85F099B3-B4CB-4D3D-8507-E7FB1FDD09D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8698" y="257621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21DB88AF-319D-4157-B1AE-9CDCC9F48C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8694" y="2738578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741015C2-025F-49BA-A050-C5307833D57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8698" y="2738578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A6DE70F5-86D5-4DAA-9C92-66BF03C9EE1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18698" y="3233984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BFCF71A-B646-4692-9092-239926DC596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18694" y="3396348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160CE1DC-A1F1-44AB-A8DC-72B0DF720DF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18698" y="3558716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D6B6A795-0A2D-4FE9-A0A1-79826E38F2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8698" y="3721088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E90258CF-659E-45BC-A22B-5EBBAA4BE1E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694" y="388345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63FB24F-0BA4-4991-A19F-0964E1A0477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8698" y="388345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CB474BA4-126C-4150-AE79-0371CB610A7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8694" y="4045824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40" name="Textplatzhalter 3">
            <a:extLst>
              <a:ext uri="{FF2B5EF4-FFF2-40B4-BE49-F238E27FC236}">
                <a16:creationId xmlns:a16="http://schemas.microsoft.com/office/drawing/2014/main" id="{8B73A060-C282-4A1B-9E3F-4BF023F0E14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8698" y="4045824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0ED4068E-4673-4A36-8027-BA2E8FD5B02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18694" y="4208190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42" name="Textplatzhalter 3">
            <a:extLst>
              <a:ext uri="{FF2B5EF4-FFF2-40B4-BE49-F238E27FC236}">
                <a16:creationId xmlns:a16="http://schemas.microsoft.com/office/drawing/2014/main" id="{BFDDE18F-0475-4A02-9EEA-7816947D5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98698" y="4208190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43" name="Textplatzhalter 3">
            <a:extLst>
              <a:ext uri="{FF2B5EF4-FFF2-40B4-BE49-F238E27FC236}">
                <a16:creationId xmlns:a16="http://schemas.microsoft.com/office/drawing/2014/main" id="{D0C6F64A-103E-4289-B654-9FAE0935046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18698" y="4701319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55214579-8B39-46B4-B918-EE0316CE8B6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18694" y="4863683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5" name="Textplatzhalter 3">
            <a:extLst>
              <a:ext uri="{FF2B5EF4-FFF2-40B4-BE49-F238E27FC236}">
                <a16:creationId xmlns:a16="http://schemas.microsoft.com/office/drawing/2014/main" id="{B7EE0A87-34A2-4330-8BEB-59B305248B8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8698" y="5026055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46" name="Textplatzhalter 3">
            <a:extLst>
              <a:ext uri="{FF2B5EF4-FFF2-40B4-BE49-F238E27FC236}">
                <a16:creationId xmlns:a16="http://schemas.microsoft.com/office/drawing/2014/main" id="{A361E03D-D046-4EDA-AC2C-55D0AC09087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8698" y="5188419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47" name="Textplatzhalter 3">
            <a:extLst>
              <a:ext uri="{FF2B5EF4-FFF2-40B4-BE49-F238E27FC236}">
                <a16:creationId xmlns:a16="http://schemas.microsoft.com/office/drawing/2014/main" id="{683FE138-90A1-46F8-9BE9-80543F9B42B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8694" y="5350787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48" name="Textplatzhalter 3">
            <a:extLst>
              <a:ext uri="{FF2B5EF4-FFF2-40B4-BE49-F238E27FC236}">
                <a16:creationId xmlns:a16="http://schemas.microsoft.com/office/drawing/2014/main" id="{58426354-BC02-4652-8675-2B0FDFB31D3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98698" y="5350787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49" name="Textplatzhalter 3">
            <a:extLst>
              <a:ext uri="{FF2B5EF4-FFF2-40B4-BE49-F238E27FC236}">
                <a16:creationId xmlns:a16="http://schemas.microsoft.com/office/drawing/2014/main" id="{3E6D7105-6DC5-40E3-930E-64F82A227CF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18694" y="5513159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50" name="Textplatzhalter 3">
            <a:extLst>
              <a:ext uri="{FF2B5EF4-FFF2-40B4-BE49-F238E27FC236}">
                <a16:creationId xmlns:a16="http://schemas.microsoft.com/office/drawing/2014/main" id="{99ABCF8A-5288-4AD2-AD05-F2DCD7B3144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98698" y="5513159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51" name="Textplatzhalter 3">
            <a:extLst>
              <a:ext uri="{FF2B5EF4-FFF2-40B4-BE49-F238E27FC236}">
                <a16:creationId xmlns:a16="http://schemas.microsoft.com/office/drawing/2014/main" id="{D439FC10-6D27-414C-842D-CD8DC74874E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18694" y="5675525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8D78D848-CFB5-4FEA-8392-0D99AC7358E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98698" y="5675525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55" name="Textplatzhalter 3">
            <a:extLst>
              <a:ext uri="{FF2B5EF4-FFF2-40B4-BE49-F238E27FC236}">
                <a16:creationId xmlns:a16="http://schemas.microsoft.com/office/drawing/2014/main" id="{6BCD8115-B35C-4642-877B-1EA74F941E68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499581" y="1764372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6" name="Textplatzhalter 3">
            <a:extLst>
              <a:ext uri="{FF2B5EF4-FFF2-40B4-BE49-F238E27FC236}">
                <a16:creationId xmlns:a16="http://schemas.microsoft.com/office/drawing/2014/main" id="{51EB63BA-B8AF-4BD3-91C9-FE08952B58A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3499577" y="1926736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7" name="Textplatzhalter 3">
            <a:extLst>
              <a:ext uri="{FF2B5EF4-FFF2-40B4-BE49-F238E27FC236}">
                <a16:creationId xmlns:a16="http://schemas.microsoft.com/office/drawing/2014/main" id="{A45705C6-C0D4-4C03-8F51-87D077B1C73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499581" y="2089108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58" name="Textplatzhalter 3">
            <a:extLst>
              <a:ext uri="{FF2B5EF4-FFF2-40B4-BE49-F238E27FC236}">
                <a16:creationId xmlns:a16="http://schemas.microsoft.com/office/drawing/2014/main" id="{CF007182-2558-4C0F-A653-0D002CCAFE8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499581" y="2251472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FDE80862-037E-4FED-B9B7-E6C4227C0D9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499577" y="2413844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60" name="Textplatzhalter 3">
            <a:extLst>
              <a:ext uri="{FF2B5EF4-FFF2-40B4-BE49-F238E27FC236}">
                <a16:creationId xmlns:a16="http://schemas.microsoft.com/office/drawing/2014/main" id="{C435A29A-8E54-4E7A-95D9-9D7B5983F5D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679581" y="2413844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8F356C87-27E3-467E-8BD0-4CA34109E18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499577" y="257621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31820810-7A4C-43E9-8E71-D25C484B2B5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679581" y="257621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63" name="Textplatzhalter 3">
            <a:extLst>
              <a:ext uri="{FF2B5EF4-FFF2-40B4-BE49-F238E27FC236}">
                <a16:creationId xmlns:a16="http://schemas.microsoft.com/office/drawing/2014/main" id="{37A7875D-B621-40BF-873E-E159CABB289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499577" y="2738578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64" name="Textplatzhalter 3">
            <a:extLst>
              <a:ext uri="{FF2B5EF4-FFF2-40B4-BE49-F238E27FC236}">
                <a16:creationId xmlns:a16="http://schemas.microsoft.com/office/drawing/2014/main" id="{23959D29-433A-49C0-AB72-E4727DBFCB4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679581" y="2738578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65" name="Textplatzhalter 3">
            <a:extLst>
              <a:ext uri="{FF2B5EF4-FFF2-40B4-BE49-F238E27FC236}">
                <a16:creationId xmlns:a16="http://schemas.microsoft.com/office/drawing/2014/main" id="{91C6D2C8-8B64-44D2-8F3F-CE2F988F9925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499581" y="3233984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6" name="Textplatzhalter 3">
            <a:extLst>
              <a:ext uri="{FF2B5EF4-FFF2-40B4-BE49-F238E27FC236}">
                <a16:creationId xmlns:a16="http://schemas.microsoft.com/office/drawing/2014/main" id="{4984F027-DE14-4D26-92F8-F3BB0E8C855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3499577" y="3396348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7" name="Textplatzhalter 3">
            <a:extLst>
              <a:ext uri="{FF2B5EF4-FFF2-40B4-BE49-F238E27FC236}">
                <a16:creationId xmlns:a16="http://schemas.microsoft.com/office/drawing/2014/main" id="{3F7F04CD-F9AA-4404-A30C-875D4ECFD20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499581" y="3558716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68" name="Textplatzhalter 3">
            <a:extLst>
              <a:ext uri="{FF2B5EF4-FFF2-40B4-BE49-F238E27FC236}">
                <a16:creationId xmlns:a16="http://schemas.microsoft.com/office/drawing/2014/main" id="{120A070E-F8A7-4BEB-8063-A77D2927F0A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499581" y="3721088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69" name="Textplatzhalter 3">
            <a:extLst>
              <a:ext uri="{FF2B5EF4-FFF2-40B4-BE49-F238E27FC236}">
                <a16:creationId xmlns:a16="http://schemas.microsoft.com/office/drawing/2014/main" id="{2AC0CE3C-3A13-4025-9FED-6D1B32FD717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499577" y="388345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70" name="Textplatzhalter 3">
            <a:extLst>
              <a:ext uri="{FF2B5EF4-FFF2-40B4-BE49-F238E27FC236}">
                <a16:creationId xmlns:a16="http://schemas.microsoft.com/office/drawing/2014/main" id="{2FD2A7D3-4CF4-412B-98B3-370970B48CB2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679581" y="388345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944BD036-02A9-467E-B286-BF683621619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499577" y="4045824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981C4525-F40F-4DB2-8516-0E0594B6E1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679581" y="4045824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73" name="Textplatzhalter 3">
            <a:extLst>
              <a:ext uri="{FF2B5EF4-FFF2-40B4-BE49-F238E27FC236}">
                <a16:creationId xmlns:a16="http://schemas.microsoft.com/office/drawing/2014/main" id="{944015EA-D993-4E24-8B94-BB3C423A3F2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499577" y="4208190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74" name="Textplatzhalter 3">
            <a:extLst>
              <a:ext uri="{FF2B5EF4-FFF2-40B4-BE49-F238E27FC236}">
                <a16:creationId xmlns:a16="http://schemas.microsoft.com/office/drawing/2014/main" id="{61975492-6C11-4431-9BD8-C4D936F22AA6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679581" y="4208190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75" name="Textplatzhalter 3">
            <a:extLst>
              <a:ext uri="{FF2B5EF4-FFF2-40B4-BE49-F238E27FC236}">
                <a16:creationId xmlns:a16="http://schemas.microsoft.com/office/drawing/2014/main" id="{5F13C928-91B2-4D0C-8483-C6F48514D976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6280464" y="1764372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6" name="Textplatzhalter 3">
            <a:extLst>
              <a:ext uri="{FF2B5EF4-FFF2-40B4-BE49-F238E27FC236}">
                <a16:creationId xmlns:a16="http://schemas.microsoft.com/office/drawing/2014/main" id="{8119FD9A-D6F4-4205-8088-1215C43042BA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6280460" y="1926736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7" name="Textplatzhalter 3">
            <a:extLst>
              <a:ext uri="{FF2B5EF4-FFF2-40B4-BE49-F238E27FC236}">
                <a16:creationId xmlns:a16="http://schemas.microsoft.com/office/drawing/2014/main" id="{3385911E-D95E-47A1-AA93-D97CF5E60F0E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80464" y="2089108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78" name="Textplatzhalter 3">
            <a:extLst>
              <a:ext uri="{FF2B5EF4-FFF2-40B4-BE49-F238E27FC236}">
                <a16:creationId xmlns:a16="http://schemas.microsoft.com/office/drawing/2014/main" id="{D42F793A-F270-4C55-A74D-FD6167C120C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280464" y="2251472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79" name="Textplatzhalter 3">
            <a:extLst>
              <a:ext uri="{FF2B5EF4-FFF2-40B4-BE49-F238E27FC236}">
                <a16:creationId xmlns:a16="http://schemas.microsoft.com/office/drawing/2014/main" id="{ED014D67-D4FB-4476-ADCA-2DC3E89831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80460" y="2413844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80" name="Textplatzhalter 3">
            <a:extLst>
              <a:ext uri="{FF2B5EF4-FFF2-40B4-BE49-F238E27FC236}">
                <a16:creationId xmlns:a16="http://schemas.microsoft.com/office/drawing/2014/main" id="{FECCC8EC-66B3-432D-B93D-C924181DC1C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460464" y="2413844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81" name="Textplatzhalter 3">
            <a:extLst>
              <a:ext uri="{FF2B5EF4-FFF2-40B4-BE49-F238E27FC236}">
                <a16:creationId xmlns:a16="http://schemas.microsoft.com/office/drawing/2014/main" id="{750A49D2-A114-4ADF-A5CC-3D82AAEFF97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280460" y="257621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82" name="Textplatzhalter 3">
            <a:extLst>
              <a:ext uri="{FF2B5EF4-FFF2-40B4-BE49-F238E27FC236}">
                <a16:creationId xmlns:a16="http://schemas.microsoft.com/office/drawing/2014/main" id="{4B7ECDE8-4B43-48A7-8807-050DFBC32F4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460464" y="257621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83" name="Textplatzhalter 3">
            <a:extLst>
              <a:ext uri="{FF2B5EF4-FFF2-40B4-BE49-F238E27FC236}">
                <a16:creationId xmlns:a16="http://schemas.microsoft.com/office/drawing/2014/main" id="{99DE85E7-A032-40B4-878B-C3CE61A8CA6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280460" y="2738578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84" name="Textplatzhalter 3">
            <a:extLst>
              <a:ext uri="{FF2B5EF4-FFF2-40B4-BE49-F238E27FC236}">
                <a16:creationId xmlns:a16="http://schemas.microsoft.com/office/drawing/2014/main" id="{F96DE20B-4923-4738-A208-8941C2E591EE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460464" y="2738578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85" name="Textplatzhalter 3">
            <a:extLst>
              <a:ext uri="{FF2B5EF4-FFF2-40B4-BE49-F238E27FC236}">
                <a16:creationId xmlns:a16="http://schemas.microsoft.com/office/drawing/2014/main" id="{D37437D5-CFBE-4B60-9D8F-6D6D0FF1BD8B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6280464" y="3233984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6" name="Textplatzhalter 3">
            <a:extLst>
              <a:ext uri="{FF2B5EF4-FFF2-40B4-BE49-F238E27FC236}">
                <a16:creationId xmlns:a16="http://schemas.microsoft.com/office/drawing/2014/main" id="{6FB91E31-6F7C-43D2-B123-BBD53D337ECF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6280460" y="3396348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7" name="Textplatzhalter 3">
            <a:extLst>
              <a:ext uri="{FF2B5EF4-FFF2-40B4-BE49-F238E27FC236}">
                <a16:creationId xmlns:a16="http://schemas.microsoft.com/office/drawing/2014/main" id="{27BC558D-7AFB-4C5F-BB10-452C74DC59C0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80464" y="3558716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88" name="Textplatzhalter 3">
            <a:extLst>
              <a:ext uri="{FF2B5EF4-FFF2-40B4-BE49-F238E27FC236}">
                <a16:creationId xmlns:a16="http://schemas.microsoft.com/office/drawing/2014/main" id="{593AAA8F-9725-41AB-983F-078DBAFA211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6280464" y="3721088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89" name="Textplatzhalter 3">
            <a:extLst>
              <a:ext uri="{FF2B5EF4-FFF2-40B4-BE49-F238E27FC236}">
                <a16:creationId xmlns:a16="http://schemas.microsoft.com/office/drawing/2014/main" id="{04C56A35-8E41-4EBA-9942-F93B868D8027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6280460" y="388345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90" name="Textplatzhalter 3">
            <a:extLst>
              <a:ext uri="{FF2B5EF4-FFF2-40B4-BE49-F238E27FC236}">
                <a16:creationId xmlns:a16="http://schemas.microsoft.com/office/drawing/2014/main" id="{2DBBC373-D2BD-4703-A0F5-C3B6033E2B80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6460464" y="388345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91" name="Textplatzhalter 3">
            <a:extLst>
              <a:ext uri="{FF2B5EF4-FFF2-40B4-BE49-F238E27FC236}">
                <a16:creationId xmlns:a16="http://schemas.microsoft.com/office/drawing/2014/main" id="{50F7672D-4307-498C-A4AE-DDEDFC56637A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6280460" y="4045824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92" name="Textplatzhalter 3">
            <a:extLst>
              <a:ext uri="{FF2B5EF4-FFF2-40B4-BE49-F238E27FC236}">
                <a16:creationId xmlns:a16="http://schemas.microsoft.com/office/drawing/2014/main" id="{8A5E011D-A0CB-4F63-A29D-619128D49D9E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460464" y="4045824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93" name="Textplatzhalter 3">
            <a:extLst>
              <a:ext uri="{FF2B5EF4-FFF2-40B4-BE49-F238E27FC236}">
                <a16:creationId xmlns:a16="http://schemas.microsoft.com/office/drawing/2014/main" id="{A588262D-57E2-4EDF-ADB0-E4B8ED83E546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280460" y="4208190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94" name="Textplatzhalter 3">
            <a:extLst>
              <a:ext uri="{FF2B5EF4-FFF2-40B4-BE49-F238E27FC236}">
                <a16:creationId xmlns:a16="http://schemas.microsoft.com/office/drawing/2014/main" id="{3B4B16B3-923A-429C-93E8-4DF1FAD0AF22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460464" y="4208190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95" name="Textplatzhalter 3">
            <a:extLst>
              <a:ext uri="{FF2B5EF4-FFF2-40B4-BE49-F238E27FC236}">
                <a16:creationId xmlns:a16="http://schemas.microsoft.com/office/drawing/2014/main" id="{4759891F-916C-4A9A-9958-A6C983E80198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>
          <a:xfrm>
            <a:off x="6280464" y="4701319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6" name="Textplatzhalter 3">
            <a:extLst>
              <a:ext uri="{FF2B5EF4-FFF2-40B4-BE49-F238E27FC236}">
                <a16:creationId xmlns:a16="http://schemas.microsoft.com/office/drawing/2014/main" id="{543179A2-7CB4-4643-B113-7C86B5BFD014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6280460" y="4863683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7" name="Textplatzhalter 3">
            <a:extLst>
              <a:ext uri="{FF2B5EF4-FFF2-40B4-BE49-F238E27FC236}">
                <a16:creationId xmlns:a16="http://schemas.microsoft.com/office/drawing/2014/main" id="{8E3AAB19-50B9-4BA5-ACBF-1B7F8AA4B2CC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6280464" y="5026055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98" name="Textplatzhalter 3">
            <a:extLst>
              <a:ext uri="{FF2B5EF4-FFF2-40B4-BE49-F238E27FC236}">
                <a16:creationId xmlns:a16="http://schemas.microsoft.com/office/drawing/2014/main" id="{C59D6CED-2EE8-44F1-B302-473D05371992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280464" y="5188419"/>
            <a:ext cx="2413247" cy="270366"/>
          </a:xfrm>
        </p:spPr>
        <p:txBody>
          <a:bodyPr tIns="0" anchor="t"/>
          <a:lstStyle>
            <a:lvl1pPr algn="l">
              <a:spcAft>
                <a:spcPts val="300"/>
              </a:spcAft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</a:t>
            </a:r>
          </a:p>
          <a:p>
            <a:pPr lvl="0"/>
            <a:r>
              <a:rPr lang="de-DE" dirty="0"/>
              <a:t>Stadt</a:t>
            </a:r>
          </a:p>
        </p:txBody>
      </p:sp>
      <p:sp>
        <p:nvSpPr>
          <p:cNvPr id="99" name="Textplatzhalter 3">
            <a:extLst>
              <a:ext uri="{FF2B5EF4-FFF2-40B4-BE49-F238E27FC236}">
                <a16:creationId xmlns:a16="http://schemas.microsoft.com/office/drawing/2014/main" id="{B5C44FEC-2A80-4496-BF78-55BBE2FB34EF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6280460" y="5544513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100" name="Textplatzhalter 3">
            <a:extLst>
              <a:ext uri="{FF2B5EF4-FFF2-40B4-BE49-F238E27FC236}">
                <a16:creationId xmlns:a16="http://schemas.microsoft.com/office/drawing/2014/main" id="{1BA37DE2-A9F1-4C75-AEA0-D699B6D61F8B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6460464" y="5544513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101" name="Textplatzhalter 3">
            <a:extLst>
              <a:ext uri="{FF2B5EF4-FFF2-40B4-BE49-F238E27FC236}">
                <a16:creationId xmlns:a16="http://schemas.microsoft.com/office/drawing/2014/main" id="{64B10AB4-90D4-4B4F-8A18-B86711E8EEE8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80460" y="5706877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102" name="Textplatzhalter 3">
            <a:extLst>
              <a:ext uri="{FF2B5EF4-FFF2-40B4-BE49-F238E27FC236}">
                <a16:creationId xmlns:a16="http://schemas.microsoft.com/office/drawing/2014/main" id="{7B472425-3676-460A-A403-A2BDBE3CF0D9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6460464" y="5706877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103" name="Textplatzhalter 3">
            <a:extLst>
              <a:ext uri="{FF2B5EF4-FFF2-40B4-BE49-F238E27FC236}">
                <a16:creationId xmlns:a16="http://schemas.microsoft.com/office/drawing/2014/main" id="{74B3BBFB-CE6C-40A6-94CE-53479CA487EC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6280460" y="5869247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104" name="Textplatzhalter 3">
            <a:extLst>
              <a:ext uri="{FF2B5EF4-FFF2-40B4-BE49-F238E27FC236}">
                <a16:creationId xmlns:a16="http://schemas.microsoft.com/office/drawing/2014/main" id="{7EC583B9-EF1E-4180-A1FE-117B1EC1AA0C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6460464" y="5869247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105" name="Textplatzhalter 3">
            <a:extLst>
              <a:ext uri="{FF2B5EF4-FFF2-40B4-BE49-F238E27FC236}">
                <a16:creationId xmlns:a16="http://schemas.microsoft.com/office/drawing/2014/main" id="{CD419293-1950-473F-99E2-B47B49F5474F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>
          <a:xfrm>
            <a:off x="9059620" y="1764372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6" name="Textplatzhalter 3">
            <a:extLst>
              <a:ext uri="{FF2B5EF4-FFF2-40B4-BE49-F238E27FC236}">
                <a16:creationId xmlns:a16="http://schemas.microsoft.com/office/drawing/2014/main" id="{1A60B90A-BFA3-4E37-8598-0678D2AD2BB1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>
          <a:xfrm>
            <a:off x="9059616" y="1926736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7" name="Textplatzhalter 3">
            <a:extLst>
              <a:ext uri="{FF2B5EF4-FFF2-40B4-BE49-F238E27FC236}">
                <a16:creationId xmlns:a16="http://schemas.microsoft.com/office/drawing/2014/main" id="{71473230-FCE4-488E-809E-F759B7EF8859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9059620" y="2086615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08" name="Textplatzhalter 3">
            <a:extLst>
              <a:ext uri="{FF2B5EF4-FFF2-40B4-BE49-F238E27FC236}">
                <a16:creationId xmlns:a16="http://schemas.microsoft.com/office/drawing/2014/main" id="{B8ED6208-53D5-4F0E-B95B-298A0E03134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9059620" y="2248987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09" name="Textplatzhalter 3">
            <a:extLst>
              <a:ext uri="{FF2B5EF4-FFF2-40B4-BE49-F238E27FC236}">
                <a16:creationId xmlns:a16="http://schemas.microsoft.com/office/drawing/2014/main" id="{5EF8315B-955E-4A94-8878-BC46B370433E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059620" y="2896250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110" name="Textplatzhalter 3">
            <a:extLst>
              <a:ext uri="{FF2B5EF4-FFF2-40B4-BE49-F238E27FC236}">
                <a16:creationId xmlns:a16="http://schemas.microsoft.com/office/drawing/2014/main" id="{6646E3E4-BFB3-4ED5-94B4-D3E6EF77210B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239616" y="2896250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111" name="Textplatzhalter 3">
            <a:extLst>
              <a:ext uri="{FF2B5EF4-FFF2-40B4-BE49-F238E27FC236}">
                <a16:creationId xmlns:a16="http://schemas.microsoft.com/office/drawing/2014/main" id="{402E2723-7BE3-4604-9AA7-9642AEFCA1B9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059620" y="3058614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112" name="Textplatzhalter 3">
            <a:extLst>
              <a:ext uri="{FF2B5EF4-FFF2-40B4-BE49-F238E27FC236}">
                <a16:creationId xmlns:a16="http://schemas.microsoft.com/office/drawing/2014/main" id="{448FE543-A9BF-4B7A-9DDC-AD3C1A0059DE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9239616" y="3058614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113" name="Textplatzhalter 3">
            <a:extLst>
              <a:ext uri="{FF2B5EF4-FFF2-40B4-BE49-F238E27FC236}">
                <a16:creationId xmlns:a16="http://schemas.microsoft.com/office/drawing/2014/main" id="{1AA263BE-533F-4635-A887-8FAA95CF23EC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9059620" y="3220988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114" name="Textplatzhalter 3">
            <a:extLst>
              <a:ext uri="{FF2B5EF4-FFF2-40B4-BE49-F238E27FC236}">
                <a16:creationId xmlns:a16="http://schemas.microsoft.com/office/drawing/2014/main" id="{2C61DCC7-59E4-4524-A2CF-D01EBDC00C92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239616" y="3220988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145" name="Textplatzhalter 3">
            <a:extLst>
              <a:ext uri="{FF2B5EF4-FFF2-40B4-BE49-F238E27FC236}">
                <a16:creationId xmlns:a16="http://schemas.microsoft.com/office/drawing/2014/main" id="{194D5807-C66D-491C-851F-D972B2EE8196}"/>
              </a:ext>
            </a:extLst>
          </p:cNvPr>
          <p:cNvSpPr>
            <a:spLocks noGrp="1"/>
          </p:cNvSpPr>
          <p:nvPr>
            <p:ph type="body" sz="quarter" idx="138" hasCustomPrompt="1"/>
          </p:nvPr>
        </p:nvSpPr>
        <p:spPr>
          <a:xfrm>
            <a:off x="9059620" y="2413844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46" name="Textplatzhalter 3">
            <a:extLst>
              <a:ext uri="{FF2B5EF4-FFF2-40B4-BE49-F238E27FC236}">
                <a16:creationId xmlns:a16="http://schemas.microsoft.com/office/drawing/2014/main" id="{8B787ECD-9C97-402C-A24B-9202BEB9B3F6}"/>
              </a:ext>
            </a:extLst>
          </p:cNvPr>
          <p:cNvSpPr>
            <a:spLocks noGrp="1"/>
          </p:cNvSpPr>
          <p:nvPr>
            <p:ph type="body" sz="quarter" idx="139" hasCustomPrompt="1"/>
          </p:nvPr>
        </p:nvSpPr>
        <p:spPr>
          <a:xfrm>
            <a:off x="9059620" y="2576212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47" name="Textplatzhalter 3">
            <a:extLst>
              <a:ext uri="{FF2B5EF4-FFF2-40B4-BE49-F238E27FC236}">
                <a16:creationId xmlns:a16="http://schemas.microsoft.com/office/drawing/2014/main" id="{35A1E027-6DE6-4AEC-B0AA-B2FF697F775A}"/>
              </a:ext>
            </a:extLst>
          </p:cNvPr>
          <p:cNvSpPr>
            <a:spLocks noGrp="1"/>
          </p:cNvSpPr>
          <p:nvPr>
            <p:ph type="body" sz="quarter" idx="140" hasCustomPrompt="1"/>
          </p:nvPr>
        </p:nvSpPr>
        <p:spPr>
          <a:xfrm>
            <a:off x="9059620" y="2735683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pic>
        <p:nvPicPr>
          <p:cNvPr id="116" name="Grafik 1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17" name="Grafik 1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6921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1236921D-785A-46CD-AB8A-8D500253F2F5}"/>
              </a:ext>
            </a:extLst>
          </p:cNvPr>
          <p:cNvSpPr/>
          <p:nvPr userDrawn="1"/>
        </p:nvSpPr>
        <p:spPr>
          <a:xfrm>
            <a:off x="717554" y="5944967"/>
            <a:ext cx="4943999" cy="370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ts val="1400"/>
              </a:lnSpc>
            </a:pP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БЕРЛИН</a:t>
            </a:r>
            <a:r>
              <a:rPr lang="en-US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БРЮССЕЛЬ</a:t>
            </a:r>
            <a:r>
              <a:rPr lang="en-US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ГАМБУРГ</a:t>
            </a:r>
            <a:r>
              <a:rPr lang="en-US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ДЮССЕЛЬДОРФ</a:t>
            </a:r>
            <a:r>
              <a:rPr lang="en-US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МОСКВА</a:t>
            </a:r>
            <a:r>
              <a:rPr lang="en-US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МЮНХЕН</a:t>
            </a:r>
            <a:r>
              <a:rPr lang="en-US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 </a:t>
            </a:r>
            <a:endParaRPr lang="ru-RU" sz="900" cap="all" spc="50" dirty="0">
              <a:solidFill>
                <a:srgbClr val="003E77"/>
              </a:solidFill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ПЕКИН</a:t>
            </a:r>
            <a:r>
              <a:rPr lang="en-US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САНКТ-ПЕТЕРБУРГ</a:t>
            </a:r>
            <a:r>
              <a:rPr lang="en-US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ФРАНКФУРТ-НА-МАЙНЕ</a:t>
            </a:r>
            <a:endParaRPr lang="en-US" sz="900" cap="all" spc="50" dirty="0">
              <a:solidFill>
                <a:srgbClr val="003E77"/>
              </a:solidFill>
              <a:cs typeface="Arial" panose="020B0604020202020204" pitchFamily="34" charset="0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88B46C6-B9CC-46C8-9953-98C0986125B7}"/>
              </a:ext>
            </a:extLst>
          </p:cNvPr>
          <p:cNvSpPr/>
          <p:nvPr userDrawn="1"/>
        </p:nvSpPr>
        <p:spPr>
          <a:xfrm>
            <a:off x="717554" y="6426636"/>
            <a:ext cx="4943999" cy="2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l">
              <a:lnSpc>
                <a:spcPts val="1400"/>
              </a:lnSpc>
            </a:pPr>
            <a:r>
              <a:rPr lang="de-DE" sz="1200" b="1" cap="all" spc="100" baseline="0" dirty="0">
                <a:solidFill>
                  <a:schemeClr val="tx2"/>
                </a:solidFill>
                <a:latin typeface="+mj-lt"/>
              </a:rPr>
              <a:t>www.Beitenburkhardt.com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53229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1249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8" imgH="338" progId="TCLayout.ActiveDocument.1">
                  <p:embed/>
                </p:oleObj>
              </mc:Choice>
              <mc:Fallback>
                <p:oleObj name="think-cell Folie" r:id="rId3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C9A0AC49-C9B3-4EB9-994D-CE55B551CC55}"/>
              </a:ext>
            </a:extLst>
          </p:cNvPr>
          <p:cNvSpPr/>
          <p:nvPr userDrawn="1"/>
        </p:nvSpPr>
        <p:spPr>
          <a:xfrm>
            <a:off x="4" y="-1"/>
            <a:ext cx="12192000" cy="343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4" y="1906948"/>
            <a:ext cx="5136000" cy="612001"/>
          </a:xfrm>
        </p:spPr>
        <p:txBody>
          <a:bodyPr wrap="none" anchor="t">
            <a:noAutofit/>
          </a:bodyPr>
          <a:lstStyle>
            <a:lvl1pPr algn="l">
              <a:lnSpc>
                <a:spcPct val="100000"/>
              </a:lnSpc>
              <a:defRPr sz="3400" b="1" spc="12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eiten </a:t>
            </a:r>
            <a:br>
              <a:rPr lang="en-US" dirty="0"/>
            </a:br>
            <a:r>
              <a:rPr lang="en-US" dirty="0"/>
              <a:t>Burkhardt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A8AA797-3826-4F4D-8515-0918A91F815D}"/>
              </a:ext>
            </a:extLst>
          </p:cNvPr>
          <p:cNvSpPr/>
          <p:nvPr userDrawn="1"/>
        </p:nvSpPr>
        <p:spPr>
          <a:xfrm>
            <a:off x="720000" y="1618952"/>
            <a:ext cx="5400000" cy="9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56B483E-C980-462D-97DC-55C047CC1931}"/>
              </a:ext>
            </a:extLst>
          </p:cNvPr>
          <p:cNvSpPr/>
          <p:nvPr userDrawn="1"/>
        </p:nvSpPr>
        <p:spPr>
          <a:xfrm>
            <a:off x="4" y="3429000"/>
            <a:ext cx="8784000" cy="900000"/>
          </a:xfrm>
          <a:prstGeom prst="rect">
            <a:avLst/>
          </a:prstGeom>
          <a:solidFill>
            <a:srgbClr val="9C9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004" y="3429003"/>
            <a:ext cx="5136000" cy="900001"/>
          </a:xfrm>
        </p:spPr>
        <p:txBody>
          <a:bodyPr wrap="none" tIns="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cap="none" spc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Datum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20729" y="4870454"/>
            <a:ext cx="5167313" cy="1027113"/>
          </a:xfrm>
        </p:spPr>
        <p:txBody>
          <a:bodyPr/>
          <a:lstStyle>
            <a:lvl1pPr>
              <a:defRPr b="0" i="0" kern="0" spc="0" baseline="0"/>
            </a:lvl1pPr>
            <a:lvl2pPr>
              <a:defRPr b="0" i="0" kern="0" spc="0" baseline="0"/>
            </a:lvl2pPr>
            <a:lvl3pPr>
              <a:defRPr b="0" i="0" kern="0" spc="0" baseline="0"/>
            </a:lvl3pPr>
            <a:lvl4pPr>
              <a:defRPr b="0" i="0" kern="0" spc="0" baseline="0"/>
            </a:lvl4pPr>
            <a:lvl5pPr>
              <a:defRPr b="0" i="0" kern="0" spc="0" baseline="0"/>
            </a:lvl5pPr>
          </a:lstStyle>
          <a:p>
            <a:pPr lvl="0"/>
            <a:r>
              <a:rPr lang="de-DE" dirty="0"/>
              <a:t>Referent/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87236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1800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8" imgH="338" progId="TCLayout.ActiveDocument.1">
                  <p:embed/>
                </p:oleObj>
              </mc:Choice>
              <mc:Fallback>
                <p:oleObj name="think-cell Folie" r:id="rId3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C9A0AC49-C9B3-4EB9-994D-CE55B551CC55}"/>
              </a:ext>
            </a:extLst>
          </p:cNvPr>
          <p:cNvSpPr/>
          <p:nvPr userDrawn="1"/>
        </p:nvSpPr>
        <p:spPr>
          <a:xfrm>
            <a:off x="4" y="-1"/>
            <a:ext cx="12192000" cy="34344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4" y="1906948"/>
            <a:ext cx="5136000" cy="612001"/>
          </a:xfrm>
        </p:spPr>
        <p:txBody>
          <a:bodyPr wrap="none" anchor="t">
            <a:noAutofit/>
          </a:bodyPr>
          <a:lstStyle>
            <a:lvl1pPr algn="l">
              <a:lnSpc>
                <a:spcPct val="100000"/>
              </a:lnSpc>
              <a:defRPr sz="3400" b="1" spc="12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apiteltrenner</a:t>
            </a:r>
            <a:endParaRPr lang="en-US" dirty="0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A8AA797-3826-4F4D-8515-0918A91F815D}"/>
              </a:ext>
            </a:extLst>
          </p:cNvPr>
          <p:cNvSpPr/>
          <p:nvPr userDrawn="1"/>
        </p:nvSpPr>
        <p:spPr>
          <a:xfrm>
            <a:off x="720000" y="1618952"/>
            <a:ext cx="5400000" cy="9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56B483E-C980-462D-97DC-55C047CC1931}"/>
              </a:ext>
            </a:extLst>
          </p:cNvPr>
          <p:cNvSpPr/>
          <p:nvPr userDrawn="1"/>
        </p:nvSpPr>
        <p:spPr>
          <a:xfrm>
            <a:off x="4" y="3429000"/>
            <a:ext cx="8784000" cy="90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004" y="3429003"/>
            <a:ext cx="5136000" cy="900001"/>
          </a:xfrm>
        </p:spPr>
        <p:txBody>
          <a:bodyPr wrap="none" tIns="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cap="none" spc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Untertitel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543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513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4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200"/>
              </a:lnSpc>
            </a:pPr>
            <a:endParaRPr lang="de-DE" sz="2400" b="1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F33B075-CEB5-4EAB-8734-48D3EF22973E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783638" y="0"/>
            <a:ext cx="3408362" cy="6858000"/>
          </a:xfrm>
          <a:solidFill>
            <a:schemeClr val="accent5"/>
          </a:solidFill>
        </p:spPr>
        <p:txBody>
          <a:bodyPr tIns="0" bIns="648000" anchor="ctr"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7DBCBE2-4BD6-4072-885D-41F9AE6D2D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999" y="1763999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I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18050635-1AE6-44ED-AF07-F716D0682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6984001" cy="792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5F206850-7AF5-47C4-B54C-636F17582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294007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II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B4EDA23C-7654-4389-A189-2A223294E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999" y="2824019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III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C27E598-4264-4D34-8C58-D6E049D80E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3354027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IV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F0B8657D-338A-4825-8BBB-B7608139A3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9999" y="3884031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FD29DAD5-12A9-4C52-8136-A83681CEFC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9999" y="4414039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I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57871947-95FF-486C-9C4C-1E842089D8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999" y="4944052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II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ADAF4D09-4685-4C29-976D-379E0BFCAE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5904" y="176399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Textmasterformat bearbeiten</a:t>
            </a:r>
          </a:p>
        </p:txBody>
      </p:sp>
      <p:sp>
        <p:nvSpPr>
          <p:cNvPr id="24" name="Textplatzhalter 20">
            <a:extLst>
              <a:ext uri="{FF2B5EF4-FFF2-40B4-BE49-F238E27FC236}">
                <a16:creationId xmlns:a16="http://schemas.microsoft.com/office/drawing/2014/main" id="{D5304A5C-B4F3-4438-9E54-00137B9241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5904" y="2294007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5" name="Textplatzhalter 20">
            <a:extLst>
              <a:ext uri="{FF2B5EF4-FFF2-40B4-BE49-F238E27FC236}">
                <a16:creationId xmlns:a16="http://schemas.microsoft.com/office/drawing/2014/main" id="{B76EF237-509B-4FD6-BDC1-C11BA3EF2C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85904" y="282401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Textplatzhalter 20">
            <a:extLst>
              <a:ext uri="{FF2B5EF4-FFF2-40B4-BE49-F238E27FC236}">
                <a16:creationId xmlns:a16="http://schemas.microsoft.com/office/drawing/2014/main" id="{724E0103-4AAE-4272-B0F4-B3876221FC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5904" y="3354027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7" name="Textplatzhalter 20">
            <a:extLst>
              <a:ext uri="{FF2B5EF4-FFF2-40B4-BE49-F238E27FC236}">
                <a16:creationId xmlns:a16="http://schemas.microsoft.com/office/drawing/2014/main" id="{29201282-4D9C-4360-B2B3-0C4772A0428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5904" y="3884031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8" name="Textplatzhalter 20">
            <a:extLst>
              <a:ext uri="{FF2B5EF4-FFF2-40B4-BE49-F238E27FC236}">
                <a16:creationId xmlns:a16="http://schemas.microsoft.com/office/drawing/2014/main" id="{A32C05CD-960E-4F01-A1CB-CBA9F0C12F9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5904" y="441403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9" name="Textplatzhalter 20">
            <a:extLst>
              <a:ext uri="{FF2B5EF4-FFF2-40B4-BE49-F238E27FC236}">
                <a16:creationId xmlns:a16="http://schemas.microsoft.com/office/drawing/2014/main" id="{5644FC63-1A5A-41B0-878B-4988056C545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5904" y="4944052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0" name="Textplatzhalter 20">
            <a:extLst>
              <a:ext uri="{FF2B5EF4-FFF2-40B4-BE49-F238E27FC236}">
                <a16:creationId xmlns:a16="http://schemas.microsoft.com/office/drawing/2014/main" id="{84412FD8-546C-4BAE-B20E-89DC4F387C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93600" y="176399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32" name="Textplatzhalter 20">
            <a:extLst>
              <a:ext uri="{FF2B5EF4-FFF2-40B4-BE49-F238E27FC236}">
                <a16:creationId xmlns:a16="http://schemas.microsoft.com/office/drawing/2014/main" id="{8842EE9F-92C2-4E41-8B31-C8E83EBA2E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93600" y="2294007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33" name="Textplatzhalter 20">
            <a:extLst>
              <a:ext uri="{FF2B5EF4-FFF2-40B4-BE49-F238E27FC236}">
                <a16:creationId xmlns:a16="http://schemas.microsoft.com/office/drawing/2014/main" id="{0F90BCA9-CB13-443E-A9D6-ACB1B6E29E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93600" y="282401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34" name="Textplatzhalter 20">
            <a:extLst>
              <a:ext uri="{FF2B5EF4-FFF2-40B4-BE49-F238E27FC236}">
                <a16:creationId xmlns:a16="http://schemas.microsoft.com/office/drawing/2014/main" id="{33231675-FAFD-4D47-B349-E3DE2C5882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93600" y="3354027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35" name="Textplatzhalter 20">
            <a:extLst>
              <a:ext uri="{FF2B5EF4-FFF2-40B4-BE49-F238E27FC236}">
                <a16:creationId xmlns:a16="http://schemas.microsoft.com/office/drawing/2014/main" id="{C3CFDF56-750F-4E20-AED0-847DA36C08D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3600" y="3884031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36" name="Textplatzhalter 20">
            <a:extLst>
              <a:ext uri="{FF2B5EF4-FFF2-40B4-BE49-F238E27FC236}">
                <a16:creationId xmlns:a16="http://schemas.microsoft.com/office/drawing/2014/main" id="{94267A60-874B-4852-BD2E-EBDDF4592FC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93600" y="441403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</a:t>
            </a:r>
          </a:p>
        </p:txBody>
      </p:sp>
      <p:sp>
        <p:nvSpPr>
          <p:cNvPr id="37" name="Textplatzhalter 20">
            <a:extLst>
              <a:ext uri="{FF2B5EF4-FFF2-40B4-BE49-F238E27FC236}">
                <a16:creationId xmlns:a16="http://schemas.microsoft.com/office/drawing/2014/main" id="{E008922D-28D6-4155-84B4-B8F84F61F8B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93600" y="4944052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</a:t>
            </a:r>
          </a:p>
        </p:txBody>
      </p:sp>
      <p:pic>
        <p:nvPicPr>
          <p:cNvPr id="47" name="Grafik 4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3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3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4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0824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7DBCBE2-4BD6-4072-885D-41F9AE6D2D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999" y="1763999"/>
            <a:ext cx="410400" cy="410400"/>
          </a:xfrm>
          <a:solidFill>
            <a:schemeClr val="accent1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18050635-1AE6-44ED-AF07-F716D0682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6984001" cy="792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5F206850-7AF5-47C4-B54C-636F17582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294007"/>
            <a:ext cx="410400" cy="410400"/>
          </a:xfrm>
          <a:solidFill>
            <a:srgbClr val="00899C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I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B4EDA23C-7654-4389-A189-2A223294E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999" y="2824019"/>
            <a:ext cx="410400" cy="410400"/>
          </a:xfrm>
          <a:solidFill>
            <a:srgbClr val="4F81BD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II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C27E598-4264-4D34-8C58-D6E049D80E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3354027"/>
            <a:ext cx="410400" cy="410400"/>
          </a:xfrm>
          <a:solidFill>
            <a:schemeClr val="accent4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V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F0B8657D-338A-4825-8BBB-B7608139A3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9999" y="3884031"/>
            <a:ext cx="410400" cy="410400"/>
          </a:xfrm>
          <a:solidFill>
            <a:schemeClr val="accent5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FD29DAD5-12A9-4C52-8136-A83681CEFC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9999" y="4414039"/>
            <a:ext cx="410400" cy="410400"/>
          </a:xfrm>
          <a:solidFill>
            <a:schemeClr val="accent6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I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57871947-95FF-486C-9C4C-1E842089D8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999" y="4944052"/>
            <a:ext cx="410400" cy="410400"/>
          </a:xfrm>
          <a:solidFill>
            <a:schemeClr val="accent6">
              <a:lumMod val="50000"/>
            </a:schemeClr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II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ADAF4D09-4685-4C29-976D-379E0BFCAE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5904" y="176399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4" name="Textplatzhalter 20">
            <a:extLst>
              <a:ext uri="{FF2B5EF4-FFF2-40B4-BE49-F238E27FC236}">
                <a16:creationId xmlns:a16="http://schemas.microsoft.com/office/drawing/2014/main" id="{D5304A5C-B4F3-4438-9E54-00137B9241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5904" y="2294007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5" name="Textplatzhalter 20">
            <a:extLst>
              <a:ext uri="{FF2B5EF4-FFF2-40B4-BE49-F238E27FC236}">
                <a16:creationId xmlns:a16="http://schemas.microsoft.com/office/drawing/2014/main" id="{B76EF237-509B-4FD6-BDC1-C11BA3EF2C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85904" y="282401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Textplatzhalter 20">
            <a:extLst>
              <a:ext uri="{FF2B5EF4-FFF2-40B4-BE49-F238E27FC236}">
                <a16:creationId xmlns:a16="http://schemas.microsoft.com/office/drawing/2014/main" id="{724E0103-4AAE-4272-B0F4-B3876221FC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5904" y="3354027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7" name="Textplatzhalter 20">
            <a:extLst>
              <a:ext uri="{FF2B5EF4-FFF2-40B4-BE49-F238E27FC236}">
                <a16:creationId xmlns:a16="http://schemas.microsoft.com/office/drawing/2014/main" id="{29201282-4D9C-4360-B2B3-0C4772A0428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5904" y="3884031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8" name="Textplatzhalter 20">
            <a:extLst>
              <a:ext uri="{FF2B5EF4-FFF2-40B4-BE49-F238E27FC236}">
                <a16:creationId xmlns:a16="http://schemas.microsoft.com/office/drawing/2014/main" id="{A32C05CD-960E-4F01-A1CB-CBA9F0C12F9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5904" y="441403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9" name="Textplatzhalter 20">
            <a:extLst>
              <a:ext uri="{FF2B5EF4-FFF2-40B4-BE49-F238E27FC236}">
                <a16:creationId xmlns:a16="http://schemas.microsoft.com/office/drawing/2014/main" id="{5644FC63-1A5A-41B0-878B-4988056C545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5904" y="4944052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0" name="Textplatzhalter 20">
            <a:extLst>
              <a:ext uri="{FF2B5EF4-FFF2-40B4-BE49-F238E27FC236}">
                <a16:creationId xmlns:a16="http://schemas.microsoft.com/office/drawing/2014/main" id="{84412FD8-546C-4BAE-B20E-89DC4F387C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93600" y="176399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32" name="Textplatzhalter 20">
            <a:extLst>
              <a:ext uri="{FF2B5EF4-FFF2-40B4-BE49-F238E27FC236}">
                <a16:creationId xmlns:a16="http://schemas.microsoft.com/office/drawing/2014/main" id="{8842EE9F-92C2-4E41-8B31-C8E83EBA2E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93600" y="2294007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33" name="Textplatzhalter 20">
            <a:extLst>
              <a:ext uri="{FF2B5EF4-FFF2-40B4-BE49-F238E27FC236}">
                <a16:creationId xmlns:a16="http://schemas.microsoft.com/office/drawing/2014/main" id="{0F90BCA9-CB13-443E-A9D6-ACB1B6E29E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93600" y="282401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34" name="Textplatzhalter 20">
            <a:extLst>
              <a:ext uri="{FF2B5EF4-FFF2-40B4-BE49-F238E27FC236}">
                <a16:creationId xmlns:a16="http://schemas.microsoft.com/office/drawing/2014/main" id="{33231675-FAFD-4D47-B349-E3DE2C5882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93600" y="3354027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35" name="Textplatzhalter 20">
            <a:extLst>
              <a:ext uri="{FF2B5EF4-FFF2-40B4-BE49-F238E27FC236}">
                <a16:creationId xmlns:a16="http://schemas.microsoft.com/office/drawing/2014/main" id="{C3CFDF56-750F-4E20-AED0-847DA36C08D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3600" y="3884031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36" name="Textplatzhalter 20">
            <a:extLst>
              <a:ext uri="{FF2B5EF4-FFF2-40B4-BE49-F238E27FC236}">
                <a16:creationId xmlns:a16="http://schemas.microsoft.com/office/drawing/2014/main" id="{94267A60-874B-4852-BD2E-EBDDF4592FC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93600" y="441403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</a:t>
            </a:r>
          </a:p>
        </p:txBody>
      </p:sp>
      <p:sp>
        <p:nvSpPr>
          <p:cNvPr id="37" name="Textplatzhalter 20">
            <a:extLst>
              <a:ext uri="{FF2B5EF4-FFF2-40B4-BE49-F238E27FC236}">
                <a16:creationId xmlns:a16="http://schemas.microsoft.com/office/drawing/2014/main" id="{E008922D-28D6-4155-84B4-B8F84F61F8B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93600" y="4944052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</a:t>
            </a:r>
          </a:p>
        </p:txBody>
      </p:sp>
      <p:pic>
        <p:nvPicPr>
          <p:cNvPr id="47" name="Grafik 4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sp>
        <p:nvSpPr>
          <p:cNvPr id="3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3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4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3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02965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latzhalter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0" y="1655999"/>
            <a:ext cx="5194784" cy="4140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35ACC148-410C-4F10-8110-9462A4FDE40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92919" y="1655999"/>
            <a:ext cx="5194784" cy="4140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02907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content 2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20000" y="1655999"/>
            <a:ext cx="4140000" cy="4140000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>
              <a:lnSpc>
                <a:spcPct val="150000"/>
              </a:lnSpc>
              <a:defRPr sz="1700"/>
            </a:lvl4pPr>
            <a:lvl5pPr>
              <a:lnSpc>
                <a:spcPct val="150000"/>
              </a:lnSpc>
              <a:defRPr sz="17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7BA4690-8A97-4744-8009-CC185E1981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BEITEN BURKHARDT | 28/05/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801FC98-A3D8-45C1-8E79-A0AF72AA5A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3E77"/>
                </a:solidFill>
              </a:rPr>
              <a:t>| Title of Presentation OR Event</a:t>
            </a:r>
            <a:endParaRPr lang="de-DE" dirty="0">
              <a:solidFill>
                <a:srgbClr val="003E77"/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86E9BDB6-EFB2-449E-BAA5-F7E864ECD6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35ACC148-410C-4F10-8110-9462A4FDE40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238139" y="1655999"/>
            <a:ext cx="6249568" cy="4140000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>
              <a:lnSpc>
                <a:spcPct val="150000"/>
              </a:lnSpc>
              <a:defRPr sz="1700"/>
            </a:lvl4pPr>
            <a:lvl5pPr>
              <a:lnSpc>
                <a:spcPct val="150000"/>
              </a:lnSpc>
              <a:defRPr sz="17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12707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3" y="1655999"/>
            <a:ext cx="10751987" cy="4140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6122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7DBCBE2-4BD6-4072-885D-41F9AE6D2D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999" y="1763999"/>
            <a:ext cx="410400" cy="410400"/>
          </a:xfrm>
          <a:solidFill>
            <a:schemeClr val="accent1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18050635-1AE6-44ED-AF07-F716D0682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6984001" cy="792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5F206850-7AF5-47C4-B54C-636F17582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294007"/>
            <a:ext cx="410400" cy="410400"/>
          </a:xfrm>
          <a:solidFill>
            <a:srgbClr val="00899C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I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B4EDA23C-7654-4389-A189-2A223294E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999" y="2824019"/>
            <a:ext cx="410400" cy="410400"/>
          </a:xfrm>
          <a:solidFill>
            <a:srgbClr val="4F81BD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II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C27E598-4264-4D34-8C58-D6E049D80E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3354027"/>
            <a:ext cx="410400" cy="410400"/>
          </a:xfrm>
          <a:solidFill>
            <a:schemeClr val="accent4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V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F0B8657D-338A-4825-8BBB-B7608139A3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9999" y="3884031"/>
            <a:ext cx="410400" cy="410400"/>
          </a:xfrm>
          <a:solidFill>
            <a:schemeClr val="accent5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FD29DAD5-12A9-4C52-8136-A83681CEFC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9999" y="4414039"/>
            <a:ext cx="410400" cy="410400"/>
          </a:xfrm>
          <a:solidFill>
            <a:schemeClr val="accent6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I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57871947-95FF-486C-9C4C-1E842089D8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999" y="4944052"/>
            <a:ext cx="410400" cy="410400"/>
          </a:xfrm>
          <a:solidFill>
            <a:schemeClr val="accent6">
              <a:lumMod val="50000"/>
            </a:schemeClr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II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ADAF4D09-4685-4C29-976D-379E0BFCAE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5904" y="176399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4" name="Textplatzhalter 20">
            <a:extLst>
              <a:ext uri="{FF2B5EF4-FFF2-40B4-BE49-F238E27FC236}">
                <a16:creationId xmlns:a16="http://schemas.microsoft.com/office/drawing/2014/main" id="{D5304A5C-B4F3-4438-9E54-00137B9241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5904" y="2294007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5" name="Textplatzhalter 20">
            <a:extLst>
              <a:ext uri="{FF2B5EF4-FFF2-40B4-BE49-F238E27FC236}">
                <a16:creationId xmlns:a16="http://schemas.microsoft.com/office/drawing/2014/main" id="{B76EF237-509B-4FD6-BDC1-C11BA3EF2C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85904" y="282401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Textplatzhalter 20">
            <a:extLst>
              <a:ext uri="{FF2B5EF4-FFF2-40B4-BE49-F238E27FC236}">
                <a16:creationId xmlns:a16="http://schemas.microsoft.com/office/drawing/2014/main" id="{724E0103-4AAE-4272-B0F4-B3876221FC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5904" y="3354027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7" name="Textplatzhalter 20">
            <a:extLst>
              <a:ext uri="{FF2B5EF4-FFF2-40B4-BE49-F238E27FC236}">
                <a16:creationId xmlns:a16="http://schemas.microsoft.com/office/drawing/2014/main" id="{29201282-4D9C-4360-B2B3-0C4772A0428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5904" y="3884031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8" name="Textplatzhalter 20">
            <a:extLst>
              <a:ext uri="{FF2B5EF4-FFF2-40B4-BE49-F238E27FC236}">
                <a16:creationId xmlns:a16="http://schemas.microsoft.com/office/drawing/2014/main" id="{A32C05CD-960E-4F01-A1CB-CBA9F0C12F9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5904" y="441403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9" name="Textplatzhalter 20">
            <a:extLst>
              <a:ext uri="{FF2B5EF4-FFF2-40B4-BE49-F238E27FC236}">
                <a16:creationId xmlns:a16="http://schemas.microsoft.com/office/drawing/2014/main" id="{5644FC63-1A5A-41B0-878B-4988056C545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5904" y="4944052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0" name="Textplatzhalter 20">
            <a:extLst>
              <a:ext uri="{FF2B5EF4-FFF2-40B4-BE49-F238E27FC236}">
                <a16:creationId xmlns:a16="http://schemas.microsoft.com/office/drawing/2014/main" id="{84412FD8-546C-4BAE-B20E-89DC4F387C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93600" y="176399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32" name="Textplatzhalter 20">
            <a:extLst>
              <a:ext uri="{FF2B5EF4-FFF2-40B4-BE49-F238E27FC236}">
                <a16:creationId xmlns:a16="http://schemas.microsoft.com/office/drawing/2014/main" id="{8842EE9F-92C2-4E41-8B31-C8E83EBA2E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93600" y="2294007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33" name="Textplatzhalter 20">
            <a:extLst>
              <a:ext uri="{FF2B5EF4-FFF2-40B4-BE49-F238E27FC236}">
                <a16:creationId xmlns:a16="http://schemas.microsoft.com/office/drawing/2014/main" id="{0F90BCA9-CB13-443E-A9D6-ACB1B6E29E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93600" y="282401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34" name="Textplatzhalter 20">
            <a:extLst>
              <a:ext uri="{FF2B5EF4-FFF2-40B4-BE49-F238E27FC236}">
                <a16:creationId xmlns:a16="http://schemas.microsoft.com/office/drawing/2014/main" id="{33231675-FAFD-4D47-B349-E3DE2C5882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93600" y="3354027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35" name="Textplatzhalter 20">
            <a:extLst>
              <a:ext uri="{FF2B5EF4-FFF2-40B4-BE49-F238E27FC236}">
                <a16:creationId xmlns:a16="http://schemas.microsoft.com/office/drawing/2014/main" id="{C3CFDF56-750F-4E20-AED0-847DA36C08D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3600" y="3884031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36" name="Textplatzhalter 20">
            <a:extLst>
              <a:ext uri="{FF2B5EF4-FFF2-40B4-BE49-F238E27FC236}">
                <a16:creationId xmlns:a16="http://schemas.microsoft.com/office/drawing/2014/main" id="{94267A60-874B-4852-BD2E-EBDDF4592FC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93600" y="441403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</a:t>
            </a:r>
          </a:p>
        </p:txBody>
      </p:sp>
      <p:sp>
        <p:nvSpPr>
          <p:cNvPr id="37" name="Textplatzhalter 20">
            <a:extLst>
              <a:ext uri="{FF2B5EF4-FFF2-40B4-BE49-F238E27FC236}">
                <a16:creationId xmlns:a16="http://schemas.microsoft.com/office/drawing/2014/main" id="{E008922D-28D6-4155-84B4-B8F84F61F8B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93600" y="4944052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</a:t>
            </a:r>
          </a:p>
        </p:txBody>
      </p:sp>
      <p:pic>
        <p:nvPicPr>
          <p:cNvPr id="47" name="Grafik 4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sp>
        <p:nvSpPr>
          <p:cNvPr id="3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3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4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3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72939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0550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anzseitig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D573414-ACA0-416B-B1E8-5593828FCBC7}"/>
              </a:ext>
            </a:extLst>
          </p:cNvPr>
          <p:cNvSpPr/>
          <p:nvPr userDrawn="1"/>
        </p:nvSpPr>
        <p:spPr>
          <a:xfrm>
            <a:off x="4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37" name="Titel 36">
            <a:extLst>
              <a:ext uri="{FF2B5EF4-FFF2-40B4-BE49-F238E27FC236}">
                <a16:creationId xmlns:a16="http://schemas.microsoft.com/office/drawing/2014/main" id="{56E0FA34-0AF2-4B8E-9790-24EC1B2FE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E550506-C36C-49C2-82D1-C16C08BCB04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9292" y="1656920"/>
            <a:ext cx="10751987" cy="4140000"/>
          </a:xfrm>
        </p:spPr>
        <p:txBody>
          <a:bodyPr/>
          <a:lstStyle>
            <a:lvl1pPr algn="l">
              <a:spcAft>
                <a:spcPts val="1200"/>
              </a:spcAft>
              <a:defRPr sz="3600" b="0" i="1" cap="none" baseline="0">
                <a:solidFill>
                  <a:schemeClr val="bg1"/>
                </a:solidFill>
              </a:defRPr>
            </a:lvl1pPr>
            <a:lvl2pPr algn="l">
              <a:defRPr b="1" cap="all" spc="60" baseline="0">
                <a:solidFill>
                  <a:schemeClr val="bg1"/>
                </a:solidFill>
              </a:defRPr>
            </a:lvl2pPr>
            <a:lvl3pPr marL="177800" indent="-177800" algn="l">
              <a:buClr>
                <a:schemeClr val="bg1"/>
              </a:buClr>
              <a:buFont typeface="Wingdings" panose="05000000000000000000" pitchFamily="2" charset="2"/>
              <a:buChar char="§"/>
              <a:defRPr cap="none" spc="60" baseline="0">
                <a:solidFill>
                  <a:schemeClr val="bg1"/>
                </a:solidFill>
              </a:defRPr>
            </a:lvl3pPr>
            <a:lvl4pPr algn="l">
              <a:lnSpc>
                <a:spcPct val="15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9787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latzhalter 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3" y="1655999"/>
            <a:ext cx="10751987" cy="414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93573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latzhalter 2 Spalten 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0" y="1655999"/>
            <a:ext cx="5194784" cy="414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35ACC148-410C-4F10-8110-9462A4FDE40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92923" y="1655999"/>
            <a:ext cx="5184706" cy="414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0521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hlen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E7F38DB-160E-4457-9A09-47BC361978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02" y="1647815"/>
            <a:ext cx="2864577" cy="1466865"/>
          </a:xfrm>
        </p:spPr>
        <p:txBody>
          <a:bodyPr tIns="0"/>
          <a:lstStyle>
            <a:lvl1pPr algn="l">
              <a:defRPr sz="8500"/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55793B-72DF-46FB-BD0D-7ACA802175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9427" y="3420003"/>
            <a:ext cx="2863991" cy="2367785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defRPr sz="1700"/>
            </a:lvl4pPr>
            <a:lvl5pPr marL="354013" indent="-269875">
              <a:lnSpc>
                <a:spcPct val="150000"/>
              </a:lnSpc>
              <a:defRPr sz="17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83CB1899-849D-4DA3-B596-8968912A29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63707" y="1647815"/>
            <a:ext cx="2864577" cy="1466865"/>
          </a:xfrm>
        </p:spPr>
        <p:txBody>
          <a:bodyPr tIns="0"/>
          <a:lstStyle>
            <a:lvl1pPr algn="l">
              <a:defRPr sz="85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B53AB505-F2BA-4167-80DC-A88F00FEC91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63707" y="3420003"/>
            <a:ext cx="2863991" cy="2367785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defRPr sz="1700"/>
            </a:lvl4pPr>
            <a:lvl5pPr marL="354013" indent="-269875">
              <a:lnSpc>
                <a:spcPct val="150000"/>
              </a:lnSpc>
              <a:defRPr sz="17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47CF6758-5BFF-4FAB-BFEB-642AE33CBF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07409" y="1647815"/>
            <a:ext cx="2864577" cy="1466865"/>
          </a:xfrm>
        </p:spPr>
        <p:txBody>
          <a:bodyPr tIns="0"/>
          <a:lstStyle>
            <a:lvl1pPr algn="l">
              <a:defRPr sz="8500">
                <a:solidFill>
                  <a:srgbClr val="4F81BD"/>
                </a:solidFill>
              </a:defRPr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28086083-D834-4197-BDEC-9C1F4476D99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607995" y="3420003"/>
            <a:ext cx="2863991" cy="2367785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defRPr sz="1700"/>
            </a:lvl4pPr>
            <a:lvl5pPr marL="354013" indent="-260350">
              <a:lnSpc>
                <a:spcPct val="150000"/>
              </a:lnSpc>
              <a:defRPr sz="17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48937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A943D58F-B526-4716-9660-D9FC75EBCBC2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719998" y="3405921"/>
            <a:ext cx="2448000" cy="241385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tabLst>
                <a:tab pos="123825" algn="l"/>
              </a:tabLst>
              <a:defRPr sz="1700" cap="none" spc="0" baseline="0"/>
            </a:lvl1pPr>
            <a:lvl2pPr>
              <a:lnSpc>
                <a:spcPct val="150000"/>
              </a:lnSpc>
              <a:tabLst>
                <a:tab pos="123825" algn="l"/>
              </a:tabLst>
              <a:defRPr sz="1700" cap="none" spc="0"/>
            </a:lvl2pPr>
            <a:lvl3pPr marL="142875" indent="-142875">
              <a:lnSpc>
                <a:spcPct val="150000"/>
              </a:lnSpc>
              <a:tabLst>
                <a:tab pos="123825" algn="l"/>
              </a:tabLst>
              <a:defRPr sz="1700" cap="none" spc="0"/>
            </a:lvl3pPr>
            <a:lvl4pPr>
              <a:lnSpc>
                <a:spcPct val="150000"/>
              </a:lnSpc>
              <a:tabLst>
                <a:tab pos="123825" algn="l"/>
              </a:tabLst>
              <a:defRPr sz="1700" cap="none" spc="0"/>
            </a:lvl4pPr>
            <a:lvl5pPr marL="142875" indent="-142875">
              <a:lnSpc>
                <a:spcPct val="150000"/>
              </a:lnSpc>
              <a:tabLst>
                <a:tab pos="123825" algn="l"/>
              </a:tabLst>
              <a:defRPr sz="1700" cap="none"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4" name="Textplatzhalter 15">
            <a:extLst>
              <a:ext uri="{FF2B5EF4-FFF2-40B4-BE49-F238E27FC236}">
                <a16:creationId xmlns:a16="http://schemas.microsoft.com/office/drawing/2014/main" id="{080E0E5D-3993-49AA-B095-E3EED30044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87994" y="3405921"/>
            <a:ext cx="2448000" cy="241385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tabLst>
                <a:tab pos="182563" algn="l"/>
              </a:tabLst>
              <a:defRPr sz="1700" cap="none" spc="0" baseline="0"/>
            </a:lvl1pPr>
            <a:lvl2pPr>
              <a:lnSpc>
                <a:spcPct val="150000"/>
              </a:lnSpc>
              <a:tabLst>
                <a:tab pos="182563" algn="l"/>
              </a:tabLst>
              <a:defRPr sz="1700" cap="none" spc="0"/>
            </a:lvl2pPr>
            <a:lvl3pPr marL="144000" indent="-144000">
              <a:lnSpc>
                <a:spcPct val="150000"/>
              </a:lnSpc>
              <a:tabLst>
                <a:tab pos="146050" algn="l"/>
              </a:tabLst>
              <a:defRPr sz="1700" cap="none" spc="0"/>
            </a:lvl3pPr>
            <a:lvl4pPr>
              <a:lnSpc>
                <a:spcPct val="150000"/>
              </a:lnSpc>
              <a:tabLst>
                <a:tab pos="182563" algn="l"/>
              </a:tabLst>
              <a:defRPr sz="1700" cap="none" spc="0"/>
            </a:lvl4pPr>
            <a:lvl5pPr marL="144000" indent="-144000">
              <a:lnSpc>
                <a:spcPct val="150000"/>
              </a:lnSpc>
              <a:tabLst>
                <a:tab pos="182563" algn="l"/>
              </a:tabLst>
              <a:defRPr sz="1700" cap="none"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5" name="Textplatzhalter 15">
            <a:extLst>
              <a:ext uri="{FF2B5EF4-FFF2-40B4-BE49-F238E27FC236}">
                <a16:creationId xmlns:a16="http://schemas.microsoft.com/office/drawing/2014/main" id="{54E07309-E85D-4DC2-B031-63B59AB9BC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5994" y="3405921"/>
            <a:ext cx="2448000" cy="241385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tabLst>
                <a:tab pos="146050" algn="l"/>
              </a:tabLst>
              <a:defRPr sz="1700" cap="none" spc="0" baseline="0"/>
            </a:lvl1pPr>
            <a:lvl2pPr>
              <a:lnSpc>
                <a:spcPct val="150000"/>
              </a:lnSpc>
              <a:tabLst>
                <a:tab pos="146050" algn="l"/>
              </a:tabLst>
              <a:defRPr sz="1700" cap="none" spc="0"/>
            </a:lvl2pPr>
            <a:lvl3pPr marL="144000" indent="-144000">
              <a:lnSpc>
                <a:spcPct val="150000"/>
              </a:lnSpc>
              <a:tabLst>
                <a:tab pos="146050" algn="l"/>
              </a:tabLst>
              <a:defRPr sz="1700" cap="none" spc="0"/>
            </a:lvl3pPr>
            <a:lvl4pPr>
              <a:lnSpc>
                <a:spcPct val="150000"/>
              </a:lnSpc>
              <a:tabLst>
                <a:tab pos="146050" algn="l"/>
              </a:tabLst>
              <a:defRPr sz="1700" cap="none" spc="0"/>
            </a:lvl4pPr>
            <a:lvl5pPr marL="144000" indent="-144000">
              <a:lnSpc>
                <a:spcPct val="150000"/>
              </a:lnSpc>
              <a:tabLst>
                <a:tab pos="146050" algn="l"/>
              </a:tabLst>
              <a:defRPr sz="1700" cap="none"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6" name="Textplatzhalter 15">
            <a:extLst>
              <a:ext uri="{FF2B5EF4-FFF2-40B4-BE49-F238E27FC236}">
                <a16:creationId xmlns:a16="http://schemas.microsoft.com/office/drawing/2014/main" id="{5EC8F88A-6F63-4222-B06A-26EAF6DE95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23990" y="3405920"/>
            <a:ext cx="2448000" cy="241385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tabLst>
                <a:tab pos="182563" algn="l"/>
              </a:tabLst>
              <a:defRPr sz="1700" cap="none" spc="0" baseline="0"/>
            </a:lvl1pPr>
            <a:lvl2pPr>
              <a:lnSpc>
                <a:spcPct val="150000"/>
              </a:lnSpc>
              <a:tabLst>
                <a:tab pos="182563" algn="l"/>
              </a:tabLst>
              <a:defRPr sz="1700" cap="none" spc="0"/>
            </a:lvl2pPr>
            <a:lvl3pPr marL="144000" indent="-144000">
              <a:lnSpc>
                <a:spcPct val="150000"/>
              </a:lnSpc>
              <a:tabLst>
                <a:tab pos="182563" algn="l"/>
              </a:tabLst>
              <a:defRPr sz="1700" cap="none" spc="0"/>
            </a:lvl3pPr>
            <a:lvl4pPr>
              <a:lnSpc>
                <a:spcPct val="150000"/>
              </a:lnSpc>
              <a:tabLst>
                <a:tab pos="182563" algn="l"/>
              </a:tabLst>
              <a:defRPr sz="1700" cap="none" spc="0"/>
            </a:lvl4pPr>
            <a:lvl5pPr marL="144000" indent="-144000">
              <a:lnSpc>
                <a:spcPct val="150000"/>
              </a:lnSpc>
              <a:tabLst>
                <a:tab pos="182563" algn="l"/>
              </a:tabLst>
              <a:defRPr sz="1700" cap="none"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90090E5-6DF1-4CCE-BD51-E51A143FD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08AC6F6-7E61-439D-BFBD-C95382035F8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583998" y="2016004"/>
            <a:ext cx="720000" cy="720000"/>
          </a:xfrm>
          <a:solidFill>
            <a:schemeClr val="bg1"/>
          </a:solidFill>
        </p:spPr>
        <p:txBody>
          <a:bodyPr/>
          <a:lstStyle>
            <a:lvl1pPr algn="ctr"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C7BA536F-80FD-4B00-9605-A3CFDCE660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51994" y="2016004"/>
            <a:ext cx="720000" cy="720000"/>
          </a:xfrm>
          <a:solidFill>
            <a:schemeClr val="bg1"/>
          </a:solidFill>
        </p:spPr>
        <p:txBody>
          <a:bodyPr/>
          <a:lstStyle>
            <a:lvl1pPr algn="ctr"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9B1EE0C7-A4AC-49F2-BC3E-C9FF8E7F096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119990" y="2016004"/>
            <a:ext cx="720000" cy="720000"/>
          </a:xfrm>
          <a:solidFill>
            <a:schemeClr val="bg1"/>
          </a:solidFill>
        </p:spPr>
        <p:txBody>
          <a:bodyPr/>
          <a:lstStyle>
            <a:lvl1pPr algn="ctr"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65886C13-2DF1-4450-B4DD-8D577F7EFBE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887986" y="2016004"/>
            <a:ext cx="720000" cy="720000"/>
          </a:xfrm>
          <a:solidFill>
            <a:schemeClr val="bg1"/>
          </a:solidFill>
        </p:spPr>
        <p:txBody>
          <a:bodyPr/>
          <a:lstStyle>
            <a:lvl1pPr algn="ctr">
              <a:defRPr sz="1100"/>
            </a:lvl1pPr>
          </a:lstStyle>
          <a:p>
            <a:r>
              <a:rPr lang="de-DE" dirty="0"/>
              <a:t>Icon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66466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hl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83CB1899-849D-4DA3-B596-8968912A29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62286" y="719999"/>
            <a:ext cx="5345505" cy="5067781"/>
          </a:xfrm>
        </p:spPr>
        <p:txBody>
          <a:bodyPr tIns="0"/>
          <a:lstStyle>
            <a:lvl1pPr algn="r">
              <a:defRPr sz="300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6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55793B-72DF-46FB-BD0D-7ACA802175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9423" y="1647831"/>
            <a:ext cx="4320000" cy="4139957"/>
          </a:xfrm>
        </p:spPr>
        <p:txBody>
          <a:bodyPr/>
          <a:lstStyle>
            <a:lvl1pPr>
              <a:lnSpc>
                <a:spcPct val="150000"/>
              </a:lnSpc>
              <a:defRPr sz="1700" cap="none"/>
            </a:lvl1pPr>
            <a:lvl2pPr>
              <a:lnSpc>
                <a:spcPct val="150000"/>
              </a:lnSpc>
              <a:defRPr sz="1700" cap="none"/>
            </a:lvl2pPr>
            <a:lvl3pPr>
              <a:lnSpc>
                <a:spcPct val="150000"/>
              </a:lnSpc>
              <a:defRPr sz="1700" cap="none"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defRPr sz="1700" cap="none"/>
            </a:lvl4pPr>
            <a:lvl5pPr marL="447675" indent="-269875">
              <a:lnSpc>
                <a:spcPct val="150000"/>
              </a:lnSpc>
              <a:defRPr sz="1700" cap="non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4793D58B-221C-479A-9258-3FA46FB5D5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566404" y="3384151"/>
            <a:ext cx="1064194" cy="1352544"/>
          </a:xfrm>
        </p:spPr>
        <p:txBody>
          <a:bodyPr tIns="0"/>
          <a:lstStyle>
            <a:lvl1pPr algn="l">
              <a:defRPr sz="85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%</a:t>
            </a:r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9002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and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6BA4402-5FDD-4AC9-A56C-B1962FAEE69C}"/>
              </a:ext>
            </a:extLst>
          </p:cNvPr>
          <p:cNvSpPr/>
          <p:nvPr userDrawn="1"/>
        </p:nvSpPr>
        <p:spPr>
          <a:xfrm>
            <a:off x="8607993" y="1647826"/>
            <a:ext cx="3584012" cy="4139940"/>
          </a:xfrm>
          <a:prstGeom prst="rect">
            <a:avLst/>
          </a:prstGeom>
          <a:solidFill>
            <a:srgbClr val="4F81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83CB1899-849D-4DA3-B596-8968912A29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01225" y="1929924"/>
            <a:ext cx="2557382" cy="1369606"/>
          </a:xfrm>
        </p:spPr>
        <p:txBody>
          <a:bodyPr tIns="0"/>
          <a:lstStyle>
            <a:lvl1pPr algn="l">
              <a:defRPr sz="8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65 %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55793B-72DF-46FB-BD0D-7ACA802175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01229" y="3207579"/>
            <a:ext cx="2270759" cy="1944000"/>
          </a:xfrm>
        </p:spPr>
        <p:txBody>
          <a:bodyPr/>
          <a:lstStyle>
            <a:lvl1pPr>
              <a:defRPr sz="1700">
                <a:solidFill>
                  <a:schemeClr val="bg1"/>
                </a:solidFill>
              </a:defRPr>
            </a:lvl1pPr>
            <a:lvl2pPr>
              <a:defRPr sz="17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700">
                <a:solidFill>
                  <a:schemeClr val="bg1"/>
                </a:solidFill>
              </a:defRPr>
            </a:lvl3pPr>
            <a:lvl4pPr marL="354013" indent="-177800">
              <a:buClr>
                <a:schemeClr val="bg1"/>
              </a:buClr>
              <a:buFont typeface="Wingdings" panose="05000000000000000000" pitchFamily="2" charset="2"/>
              <a:buChar char="§"/>
              <a:defRPr sz="1700">
                <a:solidFill>
                  <a:schemeClr val="bg1"/>
                </a:solidFill>
              </a:defRPr>
            </a:lvl4pPr>
            <a:lvl5pPr marL="355600" indent="-179388">
              <a:tabLst/>
              <a:defRPr sz="17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7" name="Inhaltsplatzhalter 7">
            <a:extLst>
              <a:ext uri="{FF2B5EF4-FFF2-40B4-BE49-F238E27FC236}">
                <a16:creationId xmlns:a16="http://schemas.microsoft.com/office/drawing/2014/main" id="{1995AB56-B476-4DD6-8AD7-5983AC23A21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3" y="1655999"/>
            <a:ext cx="6811101" cy="4140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tabLst/>
              <a:defRPr sz="1700"/>
            </a:lvl4pPr>
            <a:lvl5pPr marL="354013" indent="-269875">
              <a:lnSpc>
                <a:spcPct val="150000"/>
              </a:lnSpc>
              <a:defRPr sz="17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5204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lächig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1" y="1728004"/>
            <a:ext cx="12191999" cy="5130001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9E00D91-6216-4C63-B629-3CE2A99B8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10891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lächig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4" y="1"/>
            <a:ext cx="12192000" cy="5112000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35" name="Textplatzhalter 15">
            <a:extLst>
              <a:ext uri="{FF2B5EF4-FFF2-40B4-BE49-F238E27FC236}">
                <a16:creationId xmlns:a16="http://schemas.microsoft.com/office/drawing/2014/main" id="{AC812A5A-0598-445B-84DA-3F5F23A103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002" y="5240344"/>
            <a:ext cx="10771053" cy="540000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defRPr sz="1100" b="0" cap="none" spc="0" baseline="0"/>
            </a:lvl1pPr>
            <a:lvl2pPr marL="179388" indent="-179388">
              <a:lnSpc>
                <a:spcPts val="1400"/>
              </a:lnSpc>
              <a:defRPr sz="1100" b="0"/>
            </a:lvl2pPr>
            <a:lvl3pPr marL="0" indent="0">
              <a:lnSpc>
                <a:spcPts val="1400"/>
              </a:lnSpc>
              <a:buFontTx/>
              <a:buNone/>
              <a:defRPr sz="1100" b="0"/>
            </a:lvl3pPr>
            <a:lvl4pPr marL="179388" indent="-179388">
              <a:lnSpc>
                <a:spcPts val="1400"/>
              </a:lnSpc>
              <a:defRPr sz="1100" b="0"/>
            </a:lvl4pPr>
            <a:lvl5pPr marL="0" indent="0">
              <a:lnSpc>
                <a:spcPts val="1400"/>
              </a:lnSpc>
              <a:buFontTx/>
              <a:buNone/>
              <a:defRPr sz="1100" b="0"/>
            </a:lvl5pPr>
          </a:lstStyle>
          <a:p>
            <a:pPr lvl="0"/>
            <a:r>
              <a:rPr lang="de-DE" dirty="0"/>
              <a:t>Bildunterschrift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588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latzhalter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0" y="1655999"/>
            <a:ext cx="5194784" cy="4140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35ACC148-410C-4F10-8110-9462A4FDE40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92919" y="1655999"/>
            <a:ext cx="5194784" cy="4140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17328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6277202" y="1647816"/>
            <a:ext cx="5194782" cy="4132534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45C2D3F-246F-4DEE-AD7D-D1AEFC859E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184354" cy="41637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7D3DA524-4223-4869-97DE-2904751647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8711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lächig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2712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4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200"/>
              </a:lnSpc>
            </a:pPr>
            <a:endParaRPr lang="de-DE" sz="2400" b="1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585079" y="5"/>
            <a:ext cx="4606925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17C61F-8D2B-4B28-AC3B-49847D206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720003"/>
            <a:ext cx="5507764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D6FEAB31-C8DB-407E-8E7B-D21BC3BFA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507764" cy="41637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8537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flächig rechts Dru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87649" y="5"/>
            <a:ext cx="5904351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17C61F-8D2B-4B28-AC3B-49847D206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5183385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D6FEAB31-C8DB-407E-8E7B-D21BC3BFA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184354" cy="4163775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268E10E-C1BA-4E12-90CE-C68B4C4BFC10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ED2595-B85B-464B-A284-140EEE579AA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92C155D-FF84-47E4-A35F-3E5C7790FB2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52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440004" y="5"/>
            <a:ext cx="4752000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D6FEAB31-C8DB-407E-8E7B-D21BC3BFA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940000" cy="4163775"/>
          </a:xfrm>
        </p:spPr>
        <p:txBody>
          <a:bodyPr/>
          <a:lstStyle>
            <a:lvl1pPr algn="l">
              <a:spcAft>
                <a:spcPts val="1800"/>
              </a:spcAft>
              <a:defRPr sz="2400" b="0" i="1" cap="none" baseline="0">
                <a:solidFill>
                  <a:srgbClr val="00899C"/>
                </a:solidFill>
              </a:defRPr>
            </a:lvl1pPr>
            <a:lvl2pPr algn="l">
              <a:defRPr sz="1700" b="1" i="0" cap="all" spc="60" baseline="0"/>
            </a:lvl2pPr>
            <a:lvl3pPr marL="0" indent="0" algn="l">
              <a:buFontTx/>
              <a:buNone/>
              <a:defRPr sz="1700" b="0" i="0" cap="none" baseline="0"/>
            </a:lvl3pPr>
            <a:lvl4pPr>
              <a:defRPr sz="2400" b="0" i="1" cap="none" baseline="0"/>
            </a:lvl4pPr>
            <a:lvl5pPr>
              <a:defRPr sz="2400" b="0" i="1" cap="none" baseline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0584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52B9204-3CA8-4F46-9611-D37CCDE4E1BC}"/>
              </a:ext>
            </a:extLst>
          </p:cNvPr>
          <p:cNvSpPr/>
          <p:nvPr userDrawn="1"/>
        </p:nvSpPr>
        <p:spPr>
          <a:xfrm>
            <a:off x="0" y="0"/>
            <a:ext cx="7440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440004" y="5"/>
            <a:ext cx="4752000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2D948F1-0E22-4609-A685-F0FD1D3A70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0"/>
            <a:ext cx="5940000" cy="4124344"/>
          </a:xfrm>
        </p:spPr>
        <p:txBody>
          <a:bodyPr/>
          <a:lstStyle>
            <a:lvl1pPr algn="l">
              <a:spcAft>
                <a:spcPts val="1800"/>
              </a:spcAft>
              <a:defRPr sz="2400" b="0" i="1" cap="none" baseline="0">
                <a:solidFill>
                  <a:schemeClr val="bg1"/>
                </a:solidFill>
              </a:defRPr>
            </a:lvl1pPr>
            <a:lvl2pPr algn="l">
              <a:defRPr sz="1700" b="1" i="0" cap="all" spc="60" baseline="0">
                <a:solidFill>
                  <a:schemeClr val="bg1"/>
                </a:solidFill>
              </a:defRPr>
            </a:lvl2pPr>
            <a:lvl3pPr marL="0" indent="0" algn="l">
              <a:buFontTx/>
              <a:buNone/>
              <a:defRPr sz="1700" b="0" i="0" cap="none" baseline="0">
                <a:solidFill>
                  <a:schemeClr val="bg1"/>
                </a:solidFill>
              </a:defRPr>
            </a:lvl3pPr>
            <a:lvl4pPr>
              <a:defRPr sz="2400" b="0" i="1" cap="none" baseline="0"/>
            </a:lvl4pPr>
            <a:lvl5pPr>
              <a:defRPr sz="2400" b="0" i="1" cap="none" baseline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8132" y="319088"/>
            <a:ext cx="1308100" cy="314961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11563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AEC09ABE-AD2A-40C7-BE02-8D6A5F763BF0}"/>
              </a:ext>
            </a:extLst>
          </p:cNvPr>
          <p:cNvCxnSpPr/>
          <p:nvPr userDrawn="1"/>
        </p:nvCxnSpPr>
        <p:spPr>
          <a:xfrm>
            <a:off x="719999" y="1764000"/>
            <a:ext cx="134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platzhalter 15">
            <a:extLst>
              <a:ext uri="{FF2B5EF4-FFF2-40B4-BE49-F238E27FC236}">
                <a16:creationId xmlns:a16="http://schemas.microsoft.com/office/drawing/2014/main" id="{0DBE3578-AD7F-4F50-9857-1DD2A84654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78801" y="1857134"/>
            <a:ext cx="4007703" cy="698212"/>
          </a:xfrm>
        </p:spPr>
        <p:txBody>
          <a:bodyPr wrap="square" tIns="0">
            <a:noAutofit/>
          </a:bodyPr>
          <a:lstStyle>
            <a:lvl1pPr algn="l">
              <a:lnSpc>
                <a:spcPct val="100000"/>
              </a:lnSpc>
              <a:spcAft>
                <a:spcPts val="600"/>
              </a:spcAft>
              <a:tabLst>
                <a:tab pos="182558" algn="l"/>
              </a:tabLst>
              <a:defRPr sz="1700" cap="none" spc="0" baseline="0">
                <a:solidFill>
                  <a:schemeClr val="accent4"/>
                </a:solidFill>
              </a:defRPr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Funktion  |  Position  |  auch zweizeilig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BE5019AB-39A6-44C5-863C-C04584D3CE9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9999" y="1908000"/>
            <a:ext cx="1342800" cy="1699200"/>
          </a:xfrm>
          <a:solidFill>
            <a:schemeClr val="bg2"/>
          </a:solidFill>
        </p:spPr>
        <p:txBody>
          <a:bodyPr wrap="square" tIns="0" bIns="539987" anchor="ctr">
            <a:no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Portrait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50FE44F9-87CE-4838-9679-5666042C1ADF}"/>
              </a:ext>
            </a:extLst>
          </p:cNvPr>
          <p:cNvCxnSpPr/>
          <p:nvPr userDrawn="1"/>
        </p:nvCxnSpPr>
        <p:spPr>
          <a:xfrm>
            <a:off x="2278799" y="1764000"/>
            <a:ext cx="40077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9CA4D80-58A8-48AD-8B6A-8F1ECBC0FEA0}"/>
              </a:ext>
            </a:extLst>
          </p:cNvPr>
          <p:cNvCxnSpPr>
            <a:cxnSpLocks/>
          </p:cNvCxnSpPr>
          <p:nvPr userDrawn="1"/>
        </p:nvCxnSpPr>
        <p:spPr>
          <a:xfrm>
            <a:off x="6819904" y="1764000"/>
            <a:ext cx="46520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15">
            <a:extLst>
              <a:ext uri="{FF2B5EF4-FFF2-40B4-BE49-F238E27FC236}">
                <a16:creationId xmlns:a16="http://schemas.microsoft.com/office/drawing/2014/main" id="{438AE2FC-E8C3-43A9-A707-BAD4FA72CB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78801" y="2667005"/>
            <a:ext cx="4007703" cy="993775"/>
          </a:xfrm>
        </p:spPr>
        <p:txBody>
          <a:bodyPr wrap="square" tIns="0" anchor="b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58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Adresse</a:t>
            </a:r>
            <a:br>
              <a:rPr lang="de-DE" dirty="0"/>
            </a:br>
            <a:r>
              <a:rPr lang="de-DE" dirty="0"/>
              <a:t>Kurfürstenstraße 72 – 74</a:t>
            </a:r>
            <a:br>
              <a:rPr lang="de-DE" dirty="0"/>
            </a:br>
            <a:r>
              <a:rPr lang="de-DE" dirty="0"/>
              <a:t>10787 Berlin</a:t>
            </a:r>
          </a:p>
        </p:txBody>
      </p:sp>
      <p:sp>
        <p:nvSpPr>
          <p:cNvPr id="41" name="Textplatzhalter 15">
            <a:extLst>
              <a:ext uri="{FF2B5EF4-FFF2-40B4-BE49-F238E27FC236}">
                <a16:creationId xmlns:a16="http://schemas.microsoft.com/office/drawing/2014/main" id="{23057C50-88C9-4365-8E0C-44E6EAE73E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78801" y="4710695"/>
            <a:ext cx="4007703" cy="528056"/>
          </a:xfrm>
        </p:spPr>
        <p:txBody>
          <a:bodyPr wrap="square" tIns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58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Bereich eingeben </a:t>
            </a:r>
            <a:br>
              <a:rPr lang="de-DE" dirty="0"/>
            </a:br>
            <a:r>
              <a:rPr lang="de-DE" dirty="0"/>
              <a:t>auch zweizeilig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2278801" y="4433348"/>
            <a:ext cx="4007703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ru-RU" sz="1700" b="1" dirty="0">
                <a:solidFill>
                  <a:srgbClr val="0096AF"/>
                </a:solidFill>
              </a:rPr>
              <a:t>Практика</a:t>
            </a:r>
            <a:endParaRPr lang="de-DE" sz="1700" b="1" dirty="0">
              <a:solidFill>
                <a:srgbClr val="0096AF"/>
              </a:solidFill>
            </a:endParaRPr>
          </a:p>
        </p:txBody>
      </p:sp>
      <p:sp>
        <p:nvSpPr>
          <p:cNvPr id="48" name="Textplatzhalter 15">
            <a:extLst>
              <a:ext uri="{FF2B5EF4-FFF2-40B4-BE49-F238E27FC236}">
                <a16:creationId xmlns:a16="http://schemas.microsoft.com/office/drawing/2014/main" id="{26DB06FC-3496-4BEF-BDD4-B9337A2252E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57053" y="5417114"/>
            <a:ext cx="3729452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+49 XX XXXXX-XXX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B935C04-6484-4D75-8764-D184DCED57DC}"/>
              </a:ext>
            </a:extLst>
          </p:cNvPr>
          <p:cNvSpPr/>
          <p:nvPr userDrawn="1"/>
        </p:nvSpPr>
        <p:spPr>
          <a:xfrm>
            <a:off x="2278797" y="5417114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700" b="1" dirty="0">
                <a:solidFill>
                  <a:srgbClr val="0096AF"/>
                </a:solidFill>
              </a:rPr>
              <a:t>T</a:t>
            </a:r>
          </a:p>
        </p:txBody>
      </p:sp>
      <p:sp>
        <p:nvSpPr>
          <p:cNvPr id="50" name="Textplatzhalter 15">
            <a:extLst>
              <a:ext uri="{FF2B5EF4-FFF2-40B4-BE49-F238E27FC236}">
                <a16:creationId xmlns:a16="http://schemas.microsoft.com/office/drawing/2014/main" id="{A6C426AD-E048-4CEB-BDC5-13D8ADAFB5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57053" y="5705295"/>
            <a:ext cx="3729452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vorname.nachname@bblaw.com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E54096E-7C68-42B4-A80E-CE44F08263A2}"/>
              </a:ext>
            </a:extLst>
          </p:cNvPr>
          <p:cNvSpPr/>
          <p:nvPr userDrawn="1"/>
        </p:nvSpPr>
        <p:spPr>
          <a:xfrm>
            <a:off x="2278797" y="5705295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700" b="1" dirty="0">
                <a:solidFill>
                  <a:srgbClr val="0096AF"/>
                </a:solidFill>
              </a:rPr>
              <a:t>E</a:t>
            </a:r>
          </a:p>
        </p:txBody>
      </p:sp>
      <p:sp>
        <p:nvSpPr>
          <p:cNvPr id="55" name="Textplatzhalter 15">
            <a:extLst>
              <a:ext uri="{FF2B5EF4-FFF2-40B4-BE49-F238E27FC236}">
                <a16:creationId xmlns:a16="http://schemas.microsoft.com/office/drawing/2014/main" id="{B13936D6-B557-466B-8183-885D8F21F15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19904" y="2175179"/>
            <a:ext cx="4652087" cy="2757063"/>
          </a:xfrm>
        </p:spPr>
        <p:txBody>
          <a:bodyPr wrap="square" tIns="0">
            <a:noAutofit/>
          </a:bodyPr>
          <a:lstStyle>
            <a:lvl1pPr marL="171446" indent="-171446" algn="l">
              <a:lnSpc>
                <a:spcPct val="100000"/>
              </a:lnSpc>
              <a:spcAft>
                <a:spcPts val="600"/>
              </a:spcAft>
              <a:buClr>
                <a:srgbClr val="00899C"/>
              </a:buClr>
              <a:buFont typeface="Wingdings" panose="05000000000000000000" pitchFamily="2" charset="2"/>
              <a:buChar char="§"/>
              <a:tabLst>
                <a:tab pos="182558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Spezialisierung eingeben</a:t>
            </a:r>
          </a:p>
          <a:p>
            <a:pPr lvl="0"/>
            <a:r>
              <a:rPr lang="de-DE" dirty="0"/>
              <a:t> </a:t>
            </a:r>
          </a:p>
          <a:p>
            <a:pPr lvl="0"/>
            <a:r>
              <a:rPr lang="de-DE" dirty="0"/>
              <a:t> </a:t>
            </a:r>
          </a:p>
          <a:p>
            <a:pPr lvl="0"/>
            <a:r>
              <a:rPr lang="de-DE" dirty="0"/>
              <a:t> </a:t>
            </a:r>
          </a:p>
          <a:p>
            <a:pPr lvl="0"/>
            <a:r>
              <a:rPr lang="de-DE" dirty="0"/>
              <a:t> </a:t>
            </a:r>
          </a:p>
          <a:p>
            <a:pPr lvl="0"/>
            <a:r>
              <a:rPr lang="de-DE" dirty="0"/>
              <a:t> </a:t>
            </a:r>
          </a:p>
        </p:txBody>
      </p:sp>
      <p:sp>
        <p:nvSpPr>
          <p:cNvPr id="57" name="Textplatzhalter 15">
            <a:extLst>
              <a:ext uri="{FF2B5EF4-FFF2-40B4-BE49-F238E27FC236}">
                <a16:creationId xmlns:a16="http://schemas.microsoft.com/office/drawing/2014/main" id="{A0B6DC68-0775-43A7-BBA2-13E6F8A7E3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18314" y="5705299"/>
            <a:ext cx="3636000" cy="143998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Sprachen eingeb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C5A81F68-CDAB-4F86-B0D2-FC17A14E9F73}"/>
              </a:ext>
            </a:extLst>
          </p:cNvPr>
          <p:cNvCxnSpPr/>
          <p:nvPr userDrawn="1"/>
        </p:nvCxnSpPr>
        <p:spPr>
          <a:xfrm>
            <a:off x="2278799" y="5352935"/>
            <a:ext cx="40077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B20011F3-B3D5-4F94-8A7B-6666124605C4}"/>
              </a:ext>
            </a:extLst>
          </p:cNvPr>
          <p:cNvCxnSpPr/>
          <p:nvPr userDrawn="1"/>
        </p:nvCxnSpPr>
        <p:spPr>
          <a:xfrm>
            <a:off x="6819904" y="5352935"/>
            <a:ext cx="46520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>
            <a:extLst>
              <a:ext uri="{FF2B5EF4-FFF2-40B4-BE49-F238E27FC236}">
                <a16:creationId xmlns:a16="http://schemas.microsoft.com/office/drawing/2014/main" id="{B7A4E051-68C3-4BF3-86DD-8FC185587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 wrap="square">
            <a:noAutofit/>
          </a:bodyPr>
          <a:lstStyle>
            <a:lvl1pPr algn="l"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6819905" y="5421248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ru-RU" sz="1700" b="1" dirty="0">
                <a:solidFill>
                  <a:srgbClr val="0096AF"/>
                </a:solidFill>
              </a:rPr>
              <a:t>Языки</a:t>
            </a:r>
            <a:endParaRPr lang="de-DE" sz="1700" b="1" dirty="0">
              <a:solidFill>
                <a:srgbClr val="0096AF"/>
              </a:solidFill>
            </a:endParaRPr>
          </a:p>
        </p:txBody>
      </p:sp>
      <p:pic>
        <p:nvPicPr>
          <p:cNvPr id="3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3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chteck 35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6819900" y="1915114"/>
            <a:ext cx="3531454" cy="15567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ru-RU" sz="1700" b="1" dirty="0">
                <a:solidFill>
                  <a:srgbClr val="0096AF"/>
                </a:solidFill>
              </a:rPr>
              <a:t>Специализация</a:t>
            </a:r>
            <a:endParaRPr lang="de-DE" sz="1700" b="1" dirty="0">
              <a:solidFill>
                <a:srgbClr val="0096AF"/>
              </a:solidFill>
            </a:endParaRPr>
          </a:p>
        </p:txBody>
      </p:sp>
      <p:sp>
        <p:nvSpPr>
          <p:cNvPr id="27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8" y="6356351"/>
            <a:ext cx="1399091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3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3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80192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AEC09ABE-AD2A-40C7-BE02-8D6A5F763BF0}"/>
              </a:ext>
            </a:extLst>
          </p:cNvPr>
          <p:cNvCxnSpPr/>
          <p:nvPr userDrawn="1"/>
        </p:nvCxnSpPr>
        <p:spPr>
          <a:xfrm>
            <a:off x="719999" y="1764000"/>
            <a:ext cx="134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platzhalter 15">
            <a:extLst>
              <a:ext uri="{FF2B5EF4-FFF2-40B4-BE49-F238E27FC236}">
                <a16:creationId xmlns:a16="http://schemas.microsoft.com/office/drawing/2014/main" id="{0DBE3578-AD7F-4F50-9857-1DD2A84654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77955" y="1857845"/>
            <a:ext cx="3636000" cy="408766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100" cap="none" spc="0" baseline="0">
                <a:solidFill>
                  <a:srgbClr val="00899C"/>
                </a:solidFill>
              </a:defRPr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Funktion  |  Position  |  auch zweizeilig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BE5019AB-39A6-44C5-863C-C04584D3CE9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9999" y="1908000"/>
            <a:ext cx="1342800" cy="1699200"/>
          </a:xfrm>
          <a:solidFill>
            <a:schemeClr val="bg2"/>
          </a:solidFill>
        </p:spPr>
        <p:txBody>
          <a:bodyPr wrap="square" tIns="0" bIns="539987" anchor="ctr">
            <a:no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Portrait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50FE44F9-87CE-4838-9679-5666042C1ADF}"/>
              </a:ext>
            </a:extLst>
          </p:cNvPr>
          <p:cNvCxnSpPr/>
          <p:nvPr userDrawn="1"/>
        </p:nvCxnSpPr>
        <p:spPr>
          <a:xfrm>
            <a:off x="2278799" y="1764000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15">
            <a:extLst>
              <a:ext uri="{FF2B5EF4-FFF2-40B4-BE49-F238E27FC236}">
                <a16:creationId xmlns:a16="http://schemas.microsoft.com/office/drawing/2014/main" id="{438AE2FC-E8C3-43A9-A707-BAD4FA72CB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77955" y="2264574"/>
            <a:ext cx="3636000" cy="574521"/>
          </a:xfrm>
        </p:spPr>
        <p:txBody>
          <a:bodyPr wrap="square" tIns="0" anchor="b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Adresse</a:t>
            </a:r>
            <a:br>
              <a:rPr lang="de-DE" dirty="0"/>
            </a:br>
            <a:r>
              <a:rPr lang="de-DE" dirty="0"/>
              <a:t>Kurfürstenstraße 72 – 74</a:t>
            </a:r>
            <a:br>
              <a:rPr lang="de-DE" dirty="0"/>
            </a:br>
            <a:r>
              <a:rPr lang="de-DE" dirty="0"/>
              <a:t>10787 Berlin</a:t>
            </a:r>
          </a:p>
        </p:txBody>
      </p:sp>
      <p:sp>
        <p:nvSpPr>
          <p:cNvPr id="41" name="Textplatzhalter 15">
            <a:extLst>
              <a:ext uri="{FF2B5EF4-FFF2-40B4-BE49-F238E27FC236}">
                <a16:creationId xmlns:a16="http://schemas.microsoft.com/office/drawing/2014/main" id="{23057C50-88C9-4365-8E0C-44E6EAE73E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74220" y="3067860"/>
            <a:ext cx="2640582" cy="396000"/>
          </a:xfrm>
        </p:spPr>
        <p:txBody>
          <a:bodyPr wrap="square" tIns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Bereich eingeben </a:t>
            </a:r>
            <a:br>
              <a:rPr lang="de-DE" dirty="0"/>
            </a:br>
            <a:r>
              <a:rPr lang="de-DE" dirty="0"/>
              <a:t>auch zweizeilig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2277958" y="3050524"/>
            <a:ext cx="972000" cy="180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899C"/>
                </a:solidFill>
              </a:rPr>
              <a:t>Praxisgruppe</a:t>
            </a:r>
          </a:p>
        </p:txBody>
      </p:sp>
      <p:sp>
        <p:nvSpPr>
          <p:cNvPr id="48" name="Textplatzhalter 15">
            <a:extLst>
              <a:ext uri="{FF2B5EF4-FFF2-40B4-BE49-F238E27FC236}">
                <a16:creationId xmlns:a16="http://schemas.microsoft.com/office/drawing/2014/main" id="{26DB06FC-3496-4BEF-BDD4-B9337A2252E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57053" y="3460218"/>
            <a:ext cx="3357751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+49 XX XXXXX-XXX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B935C04-6484-4D75-8764-D184DCED57DC}"/>
              </a:ext>
            </a:extLst>
          </p:cNvPr>
          <p:cNvSpPr/>
          <p:nvPr userDrawn="1"/>
        </p:nvSpPr>
        <p:spPr>
          <a:xfrm>
            <a:off x="2277955" y="3458552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T</a:t>
            </a:r>
          </a:p>
        </p:txBody>
      </p:sp>
      <p:sp>
        <p:nvSpPr>
          <p:cNvPr id="50" name="Textplatzhalter 15">
            <a:extLst>
              <a:ext uri="{FF2B5EF4-FFF2-40B4-BE49-F238E27FC236}">
                <a16:creationId xmlns:a16="http://schemas.microsoft.com/office/drawing/2014/main" id="{A6C426AD-E048-4CEB-BDC5-13D8ADAFB5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57053" y="3664592"/>
            <a:ext cx="3357751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vorname.nachname@bblaw.com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E54096E-7C68-42B4-A80E-CE44F08263A2}"/>
              </a:ext>
            </a:extLst>
          </p:cNvPr>
          <p:cNvSpPr/>
          <p:nvPr userDrawn="1"/>
        </p:nvSpPr>
        <p:spPr>
          <a:xfrm>
            <a:off x="2277955" y="3662923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E</a:t>
            </a:r>
          </a:p>
        </p:txBody>
      </p:sp>
      <p:sp>
        <p:nvSpPr>
          <p:cNvPr id="55" name="Textplatzhalter 15">
            <a:extLst>
              <a:ext uri="{FF2B5EF4-FFF2-40B4-BE49-F238E27FC236}">
                <a16:creationId xmlns:a16="http://schemas.microsoft.com/office/drawing/2014/main" id="{B13936D6-B557-466B-8183-885D8F21F15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77955" y="4293639"/>
            <a:ext cx="3636000" cy="1260000"/>
          </a:xfrm>
        </p:spPr>
        <p:txBody>
          <a:bodyPr wrap="square" tIns="0">
            <a:noAutofit/>
          </a:bodyPr>
          <a:lstStyle>
            <a:lvl1pPr marL="171446" indent="-171446" algn="l">
              <a:lnSpc>
                <a:spcPts val="1600"/>
              </a:lnSpc>
              <a:spcAft>
                <a:spcPts val="0"/>
              </a:spcAft>
              <a:buClr>
                <a:srgbClr val="00899C"/>
              </a:buClr>
              <a:buFont typeface="Wingdings" panose="05000000000000000000" pitchFamily="2" charset="2"/>
              <a:buChar char="§"/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Spezialisierung eingeb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C5A81F68-CDAB-4F86-B0D2-FC17A14E9F73}"/>
              </a:ext>
            </a:extLst>
          </p:cNvPr>
          <p:cNvCxnSpPr/>
          <p:nvPr userDrawn="1"/>
        </p:nvCxnSpPr>
        <p:spPr>
          <a:xfrm>
            <a:off x="2278799" y="3970115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>
            <a:extLst>
              <a:ext uri="{FF2B5EF4-FFF2-40B4-BE49-F238E27FC236}">
                <a16:creationId xmlns:a16="http://schemas.microsoft.com/office/drawing/2014/main" id="{B7A4E051-68C3-4BF3-86DD-8FC185587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720003"/>
            <a:ext cx="5194800" cy="792000"/>
          </a:xfrm>
        </p:spPr>
        <p:txBody>
          <a:bodyPr wrap="square">
            <a:noAutofit/>
          </a:bodyPr>
          <a:lstStyle>
            <a:lvl1pPr algn="l">
              <a:defRPr spc="60" baseline="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7736D829-D252-467B-823D-5E89F4482759}"/>
              </a:ext>
            </a:extLst>
          </p:cNvPr>
          <p:cNvCxnSpPr/>
          <p:nvPr userDrawn="1"/>
        </p:nvCxnSpPr>
        <p:spPr>
          <a:xfrm>
            <a:off x="6277203" y="1764000"/>
            <a:ext cx="134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80ECECF0-8DDA-48D6-A9B0-DB1A178E398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36004" y="1857845"/>
            <a:ext cx="3636000" cy="408766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100" cap="none" spc="0" baseline="0">
                <a:solidFill>
                  <a:schemeClr val="accent4"/>
                </a:solidFill>
              </a:defRPr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Funktion  |  Position  |  auch zweizeilig</a:t>
            </a:r>
          </a:p>
        </p:txBody>
      </p:sp>
      <p:sp>
        <p:nvSpPr>
          <p:cNvPr id="27" name="Bildplatzhalter 30">
            <a:extLst>
              <a:ext uri="{FF2B5EF4-FFF2-40B4-BE49-F238E27FC236}">
                <a16:creationId xmlns:a16="http://schemas.microsoft.com/office/drawing/2014/main" id="{4935B6D7-8E58-49AF-A83D-D1376A237C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77203" y="1908000"/>
            <a:ext cx="1342800" cy="1699200"/>
          </a:xfrm>
          <a:solidFill>
            <a:schemeClr val="bg2"/>
          </a:solidFill>
        </p:spPr>
        <p:txBody>
          <a:bodyPr wrap="square" tIns="0" bIns="539987" anchor="ctr">
            <a:no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Portrait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D3D95ABC-68E4-4F66-824B-147332A09981}"/>
              </a:ext>
            </a:extLst>
          </p:cNvPr>
          <p:cNvCxnSpPr/>
          <p:nvPr userDrawn="1"/>
        </p:nvCxnSpPr>
        <p:spPr>
          <a:xfrm>
            <a:off x="7836007" y="1764000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15">
            <a:extLst>
              <a:ext uri="{FF2B5EF4-FFF2-40B4-BE49-F238E27FC236}">
                <a16:creationId xmlns:a16="http://schemas.microsoft.com/office/drawing/2014/main" id="{30CCF38B-383C-41A2-A127-FD319E715E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36004" y="2264574"/>
            <a:ext cx="3636000" cy="574521"/>
          </a:xfrm>
        </p:spPr>
        <p:txBody>
          <a:bodyPr wrap="square" tIns="0" anchor="b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Adresse</a:t>
            </a:r>
            <a:br>
              <a:rPr lang="de-DE" dirty="0"/>
            </a:br>
            <a:r>
              <a:rPr lang="de-DE" dirty="0"/>
              <a:t>Kurfürstenstraße 72 – 74</a:t>
            </a:r>
            <a:br>
              <a:rPr lang="de-DE" dirty="0"/>
            </a:br>
            <a:r>
              <a:rPr lang="de-DE" dirty="0"/>
              <a:t>10787 Berlin</a:t>
            </a:r>
          </a:p>
        </p:txBody>
      </p:sp>
      <p:sp>
        <p:nvSpPr>
          <p:cNvPr id="33" name="Textplatzhalter 15">
            <a:extLst>
              <a:ext uri="{FF2B5EF4-FFF2-40B4-BE49-F238E27FC236}">
                <a16:creationId xmlns:a16="http://schemas.microsoft.com/office/drawing/2014/main" id="{3300BC44-E531-4F0B-85CF-BB44846DE0F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31422" y="3067860"/>
            <a:ext cx="2640582" cy="396000"/>
          </a:xfrm>
        </p:spPr>
        <p:txBody>
          <a:bodyPr wrap="square" tIns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Bereich eingeben </a:t>
            </a:r>
            <a:br>
              <a:rPr lang="de-DE" dirty="0"/>
            </a:br>
            <a:r>
              <a:rPr lang="de-DE" dirty="0"/>
              <a:t>auch zweizeilig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E5557544-5A9F-44DE-9A47-DDAF4E2786CC}"/>
              </a:ext>
            </a:extLst>
          </p:cNvPr>
          <p:cNvSpPr/>
          <p:nvPr userDrawn="1"/>
        </p:nvSpPr>
        <p:spPr>
          <a:xfrm>
            <a:off x="7836000" y="3050524"/>
            <a:ext cx="972000" cy="180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Praxisgruppe</a:t>
            </a:r>
          </a:p>
        </p:txBody>
      </p:sp>
      <p:sp>
        <p:nvSpPr>
          <p:cNvPr id="35" name="Textplatzhalter 15">
            <a:extLst>
              <a:ext uri="{FF2B5EF4-FFF2-40B4-BE49-F238E27FC236}">
                <a16:creationId xmlns:a16="http://schemas.microsoft.com/office/drawing/2014/main" id="{F2999124-3124-4797-8EA9-4966132A347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14252" y="3458688"/>
            <a:ext cx="3357751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+49 XX XXXXX-XXX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4CDE5877-5A28-4090-ADB9-9B5BF9CDBCCE}"/>
              </a:ext>
            </a:extLst>
          </p:cNvPr>
          <p:cNvSpPr/>
          <p:nvPr userDrawn="1"/>
        </p:nvSpPr>
        <p:spPr>
          <a:xfrm>
            <a:off x="7836004" y="3461954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T</a:t>
            </a:r>
          </a:p>
        </p:txBody>
      </p:sp>
      <p:sp>
        <p:nvSpPr>
          <p:cNvPr id="43" name="Textplatzhalter 15">
            <a:extLst>
              <a:ext uri="{FF2B5EF4-FFF2-40B4-BE49-F238E27FC236}">
                <a16:creationId xmlns:a16="http://schemas.microsoft.com/office/drawing/2014/main" id="{E68128DA-E42A-4D9C-94CE-C1D44062B5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4252" y="3664592"/>
            <a:ext cx="3357751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vorname.nachname@bblaw.com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9B7C2E97-D2D0-46B4-931F-3DB4D2FF5C12}"/>
              </a:ext>
            </a:extLst>
          </p:cNvPr>
          <p:cNvSpPr/>
          <p:nvPr userDrawn="1"/>
        </p:nvSpPr>
        <p:spPr>
          <a:xfrm>
            <a:off x="7836004" y="3664592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E</a:t>
            </a:r>
          </a:p>
        </p:txBody>
      </p:sp>
      <p:sp>
        <p:nvSpPr>
          <p:cNvPr id="46" name="Textplatzhalter 15">
            <a:extLst>
              <a:ext uri="{FF2B5EF4-FFF2-40B4-BE49-F238E27FC236}">
                <a16:creationId xmlns:a16="http://schemas.microsoft.com/office/drawing/2014/main" id="{95683C92-07E1-4548-9373-5AAE3DB6AEF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836004" y="4293641"/>
            <a:ext cx="3636000" cy="1259997"/>
          </a:xfrm>
        </p:spPr>
        <p:txBody>
          <a:bodyPr wrap="square" tIns="0">
            <a:noAutofit/>
          </a:bodyPr>
          <a:lstStyle>
            <a:lvl1pPr marL="171446" indent="-171446" algn="l">
              <a:lnSpc>
                <a:spcPts val="1600"/>
              </a:lnSpc>
              <a:spcAft>
                <a:spcPts val="0"/>
              </a:spcAft>
              <a:buClr>
                <a:srgbClr val="00899C"/>
              </a:buClr>
              <a:buFont typeface="Wingdings" panose="05000000000000000000" pitchFamily="2" charset="2"/>
              <a:buChar char="§"/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Spezialisierung eingeben</a:t>
            </a:r>
          </a:p>
        </p:txBody>
      </p:sp>
      <p:sp>
        <p:nvSpPr>
          <p:cNvPr id="52" name="Textplatzhalter 15">
            <a:extLst>
              <a:ext uri="{FF2B5EF4-FFF2-40B4-BE49-F238E27FC236}">
                <a16:creationId xmlns:a16="http://schemas.microsoft.com/office/drawing/2014/main" id="{6C099A96-E9CE-460B-B59E-CD1AD09BAAD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836004" y="5970189"/>
            <a:ext cx="3636000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Sprachen eingeben</a:t>
            </a:r>
          </a:p>
        </p:txBody>
      </p: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A7F6EB79-B11C-425E-8AA5-8ECA3B61134A}"/>
              </a:ext>
            </a:extLst>
          </p:cNvPr>
          <p:cNvCxnSpPr/>
          <p:nvPr userDrawn="1"/>
        </p:nvCxnSpPr>
        <p:spPr>
          <a:xfrm>
            <a:off x="7836007" y="3970115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5038D851-E937-40AF-AF4C-F3E50DEAD46E}"/>
              </a:ext>
            </a:extLst>
          </p:cNvPr>
          <p:cNvCxnSpPr/>
          <p:nvPr userDrawn="1"/>
        </p:nvCxnSpPr>
        <p:spPr>
          <a:xfrm>
            <a:off x="7836007" y="5641587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2EC7159-F8F3-4048-931D-C8DB2C0F10C9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77202" y="720003"/>
            <a:ext cx="5194784" cy="792000"/>
          </a:xfrm>
        </p:spPr>
        <p:txBody>
          <a:bodyPr vert="horz" wrap="square" lIns="0" tIns="0" rIns="0" bIns="0" rtlCol="0" anchor="t">
            <a:noAutofit/>
          </a:bodyPr>
          <a:lstStyle>
            <a:lvl1pPr algn="l">
              <a:defRPr lang="de-DE" sz="2400" cap="all" spc="60" dirty="0">
                <a:ea typeface="+mj-ea"/>
                <a:cs typeface="+mj-cs"/>
              </a:defRPr>
            </a:lvl1pPr>
          </a:lstStyle>
          <a:p>
            <a:pPr lvl="0" algn="l">
              <a:lnSpc>
                <a:spcPts val="3100"/>
              </a:lnSpc>
              <a:spcBef>
                <a:spcPct val="0"/>
              </a:spcBef>
              <a:tabLst>
                <a:tab pos="444489" algn="l"/>
              </a:tabLst>
            </a:pPr>
            <a:r>
              <a:rPr lang="de-DE"/>
              <a:t>Textmasterformat bearbeiten</a:t>
            </a:r>
          </a:p>
        </p:txBody>
      </p:sp>
      <p:sp>
        <p:nvSpPr>
          <p:cNvPr id="60" name="Textplatzhalter 15">
            <a:extLst>
              <a:ext uri="{FF2B5EF4-FFF2-40B4-BE49-F238E27FC236}">
                <a16:creationId xmlns:a16="http://schemas.microsoft.com/office/drawing/2014/main" id="{9284B8AD-B901-4B84-BA90-3DA673DDC7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77955" y="5970189"/>
            <a:ext cx="3636000" cy="143998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Sprachen eingeben</a:t>
            </a:r>
          </a:p>
        </p:txBody>
      </p: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F0E8DD84-DF77-440C-9F27-2A062AD1EDAE}"/>
              </a:ext>
            </a:extLst>
          </p:cNvPr>
          <p:cNvCxnSpPr/>
          <p:nvPr userDrawn="1"/>
        </p:nvCxnSpPr>
        <p:spPr>
          <a:xfrm>
            <a:off x="2278799" y="5641587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hteck 55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2277954" y="4089104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Spezialgebiete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7836004" y="4090802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Spezialgebiete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2277954" y="5767726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899C"/>
                </a:solidFill>
              </a:rPr>
              <a:t>Sprachen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7836004" y="5767726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899C"/>
                </a:solidFill>
              </a:rPr>
              <a:t>Sprachen</a:t>
            </a:r>
          </a:p>
        </p:txBody>
      </p:sp>
      <p:pic>
        <p:nvPicPr>
          <p:cNvPr id="7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3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8" y="6356351"/>
            <a:ext cx="1399091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4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5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3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79591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nzleiüberblick ein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4563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4" y="5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>
              <a:lnSpc>
                <a:spcPts val="2200"/>
              </a:lnSpc>
            </a:pPr>
            <a:endParaRPr lang="de-DE" sz="2400" b="1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585074" y="5"/>
            <a:ext cx="4606926" cy="6857999"/>
          </a:xfrm>
          <a:solidFill>
            <a:schemeClr val="bg2"/>
          </a:solidFill>
        </p:spPr>
        <p:txBody>
          <a:bodyPr tIns="0" bIns="935977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17C61F-8D2B-4B28-AC3B-49847D206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720003"/>
            <a:ext cx="5507764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D6FEAB31-C8DB-407E-8E7B-D21BC3BFA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000" y="1656004"/>
            <a:ext cx="5507764" cy="41352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8" y="6356351"/>
            <a:ext cx="1399091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BEITEN BURKHARDT | 28/05/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rgbClr val="003E77"/>
                </a:solidFill>
              </a:rPr>
              <a:t>| Title of Presentation OR Event</a:t>
            </a:r>
            <a:endParaRPr lang="de-DE" dirty="0">
              <a:solidFill>
                <a:srgbClr val="003E77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3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9" y="5731828"/>
            <a:ext cx="1259633" cy="1129004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6" y="319089"/>
            <a:ext cx="1308100" cy="314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1904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tionale Strategie_ein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E7F38DB-160E-4457-9A09-47BC361978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03" y="2609840"/>
            <a:ext cx="2864577" cy="1466865"/>
          </a:xfrm>
        </p:spPr>
        <p:txBody>
          <a:bodyPr tIns="0"/>
          <a:lstStyle>
            <a:lvl1pPr algn="l">
              <a:defRPr sz="7100"/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55793B-72DF-46FB-BD0D-7ACA802175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9428" y="3613154"/>
            <a:ext cx="2863991" cy="2282825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 marL="354004" indent="-176209">
              <a:buClr>
                <a:schemeClr val="accent4"/>
              </a:buClr>
              <a:buFont typeface="Wingdings" panose="05000000000000000000" pitchFamily="2" charset="2"/>
              <a:buChar char="§"/>
              <a:defRPr sz="1500"/>
            </a:lvl4pPr>
            <a:lvl5pPr marL="354004" indent="-269868">
              <a:defRPr sz="15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83CB1899-849D-4DA3-B596-8968912A29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63708" y="2609840"/>
            <a:ext cx="2864577" cy="1466865"/>
          </a:xfrm>
        </p:spPr>
        <p:txBody>
          <a:bodyPr tIns="0"/>
          <a:lstStyle>
            <a:lvl1pPr algn="l">
              <a:defRPr sz="71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B53AB505-F2BA-4167-80DC-A88F00FEC91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63708" y="3613154"/>
            <a:ext cx="2863991" cy="2282825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 marL="354004" indent="-176209">
              <a:buClr>
                <a:schemeClr val="accent4"/>
              </a:buClr>
              <a:buFont typeface="Wingdings" panose="05000000000000000000" pitchFamily="2" charset="2"/>
              <a:buChar char="§"/>
              <a:defRPr sz="1500"/>
            </a:lvl4pPr>
            <a:lvl5pPr marL="354004" indent="-269868">
              <a:defRPr sz="15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47CF6758-5BFF-4FAB-BFEB-642AE33CBF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07410" y="2609840"/>
            <a:ext cx="2864577" cy="1466865"/>
          </a:xfrm>
        </p:spPr>
        <p:txBody>
          <a:bodyPr tIns="0"/>
          <a:lstStyle>
            <a:lvl1pPr algn="l">
              <a:defRPr sz="71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28086083-D834-4197-BDEC-9C1F4476D99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607996" y="3613154"/>
            <a:ext cx="2863991" cy="2282825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 marL="354004" indent="-176209">
              <a:buClr>
                <a:schemeClr val="accent4"/>
              </a:buClr>
              <a:buFont typeface="Wingdings" panose="05000000000000000000" pitchFamily="2" charset="2"/>
              <a:buChar char="§"/>
              <a:defRPr sz="1500"/>
            </a:lvl4pPr>
            <a:lvl5pPr marL="354004" indent="-260344">
              <a:defRPr sz="15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8" y="6356351"/>
            <a:ext cx="1399091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BEITEN BURKHARDT | 28/05/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rgbClr val="003E77"/>
                </a:solidFill>
              </a:rPr>
              <a:t>| Title of Presentation OR Event</a:t>
            </a:r>
            <a:endParaRPr lang="de-DE" dirty="0">
              <a:solidFill>
                <a:srgbClr val="003E77"/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3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3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sz="quarter" idx="24"/>
          </p:nvPr>
        </p:nvSpPr>
        <p:spPr>
          <a:xfrm>
            <a:off x="723905" y="1724026"/>
            <a:ext cx="10755313" cy="8763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9052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bales Netzwerk_ein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0" y="1655999"/>
            <a:ext cx="5194784" cy="414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35ACC148-410C-4F10-8110-9462A4FDE40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92918" y="1655999"/>
            <a:ext cx="5194784" cy="414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8" y="6356351"/>
            <a:ext cx="1399091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BEITEN BURKHARDT | 28/05/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rgbClr val="003E77"/>
                </a:solidFill>
              </a:rPr>
              <a:t>| Title of Presentation OR Event</a:t>
            </a:r>
            <a:endParaRPr lang="de-DE" dirty="0">
              <a:solidFill>
                <a:srgbClr val="003E77"/>
              </a:solidFill>
            </a:endParaRP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3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3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98850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content 2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20000" y="1655999"/>
            <a:ext cx="4140000" cy="4140000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>
              <a:lnSpc>
                <a:spcPct val="150000"/>
              </a:lnSpc>
              <a:defRPr sz="1700"/>
            </a:lvl4pPr>
            <a:lvl5pPr>
              <a:lnSpc>
                <a:spcPct val="150000"/>
              </a:lnSpc>
              <a:defRPr sz="17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7BA4690-8A97-4744-8009-CC185E1981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| BEITEN BURKHARDT | 28/05/2020</a:t>
            </a:r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801FC98-A3D8-45C1-8E79-A0AF72AA5A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| Title of Presentation OR Event</a:t>
            </a:r>
            <a:endParaRPr lang="de-DE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86E9BDB6-EFB2-449E-BAA5-F7E864ECD6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35ACC148-410C-4F10-8110-9462A4FDE40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238139" y="1655999"/>
            <a:ext cx="6249568" cy="4140000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>
              <a:lnSpc>
                <a:spcPct val="150000"/>
              </a:lnSpc>
              <a:defRPr sz="1700"/>
            </a:lvl4pPr>
            <a:lvl5pPr>
              <a:lnSpc>
                <a:spcPct val="150000"/>
              </a:lnSpc>
              <a:defRPr sz="17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564708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ort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E4D72C8-8334-4C32-BCBC-D405EE84DB10}"/>
              </a:ext>
            </a:extLst>
          </p:cNvPr>
          <p:cNvSpPr/>
          <p:nvPr userDrawn="1"/>
        </p:nvSpPr>
        <p:spPr>
          <a:xfrm>
            <a:off x="4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defTabSz="457189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3" y="720003"/>
            <a:ext cx="10751987" cy="79200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e Standort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7BA4690-8A97-4744-8009-CC185E1981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801FC98-A3D8-45C1-8E79-A0AF72AA5A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86E9BDB6-EFB2-449E-BAA5-F7E864ECD6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C2613F-F17E-478E-8D88-D545B0EFC7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8699" y="1764372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2A0D8B37-A108-4D18-9124-C3677520884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8694" y="1926736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6F80746F-026C-45AE-9681-251395FA44E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8699" y="2089108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1B0C9964-697C-4703-BD9C-54FB04BADC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699" y="2251472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167B3649-5E08-4DCB-80FE-40A0764FEB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8695" y="2413844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0DD34ECA-CAC5-41EE-A095-FD3837277F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8698" y="2413844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FDAF70A9-B2F7-4A05-BA3F-F678949171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8695" y="257621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85F099B3-B4CB-4D3D-8507-E7FB1FDD09D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8698" y="257621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21DB88AF-319D-4157-B1AE-9CDCC9F48C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8695" y="2738579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741015C2-025F-49BA-A050-C5307833D57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8698" y="2738579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A6DE70F5-86D5-4DAA-9C92-66BF03C9EE1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18699" y="3233984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BFCF71A-B646-4692-9092-239926DC596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18694" y="3396348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160CE1DC-A1F1-44AB-A8DC-72B0DF720DF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18699" y="3558716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D6B6A795-0A2D-4FE9-A0A1-79826E38F2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8699" y="3721088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E90258CF-659E-45BC-A22B-5EBBAA4BE1E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695" y="388345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63FB24F-0BA4-4991-A19F-0964E1A0477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8698" y="388345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CB474BA4-126C-4150-AE79-0371CB610A7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8695" y="4045824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40" name="Textplatzhalter 3">
            <a:extLst>
              <a:ext uri="{FF2B5EF4-FFF2-40B4-BE49-F238E27FC236}">
                <a16:creationId xmlns:a16="http://schemas.microsoft.com/office/drawing/2014/main" id="{8B73A060-C282-4A1B-9E3F-4BF023F0E14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8698" y="4045824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0ED4068E-4673-4A36-8027-BA2E8FD5B02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18695" y="4208191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42" name="Textplatzhalter 3">
            <a:extLst>
              <a:ext uri="{FF2B5EF4-FFF2-40B4-BE49-F238E27FC236}">
                <a16:creationId xmlns:a16="http://schemas.microsoft.com/office/drawing/2014/main" id="{BFDDE18F-0475-4A02-9EEA-7816947D5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98698" y="4208191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43" name="Textplatzhalter 3">
            <a:extLst>
              <a:ext uri="{FF2B5EF4-FFF2-40B4-BE49-F238E27FC236}">
                <a16:creationId xmlns:a16="http://schemas.microsoft.com/office/drawing/2014/main" id="{D0C6F64A-103E-4289-B654-9FAE0935046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18699" y="4701318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55214579-8B39-46B4-B918-EE0316CE8B6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18694" y="4863683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5" name="Textplatzhalter 3">
            <a:extLst>
              <a:ext uri="{FF2B5EF4-FFF2-40B4-BE49-F238E27FC236}">
                <a16:creationId xmlns:a16="http://schemas.microsoft.com/office/drawing/2014/main" id="{B7EE0A87-34A2-4330-8BEB-59B305248B8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8699" y="5026054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46" name="Textplatzhalter 3">
            <a:extLst>
              <a:ext uri="{FF2B5EF4-FFF2-40B4-BE49-F238E27FC236}">
                <a16:creationId xmlns:a16="http://schemas.microsoft.com/office/drawing/2014/main" id="{A361E03D-D046-4EDA-AC2C-55D0AC09087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8699" y="5188419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47" name="Textplatzhalter 3">
            <a:extLst>
              <a:ext uri="{FF2B5EF4-FFF2-40B4-BE49-F238E27FC236}">
                <a16:creationId xmlns:a16="http://schemas.microsoft.com/office/drawing/2014/main" id="{683FE138-90A1-46F8-9BE9-80543F9B42B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8695" y="5350787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48" name="Textplatzhalter 3">
            <a:extLst>
              <a:ext uri="{FF2B5EF4-FFF2-40B4-BE49-F238E27FC236}">
                <a16:creationId xmlns:a16="http://schemas.microsoft.com/office/drawing/2014/main" id="{58426354-BC02-4652-8675-2B0FDFB31D3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98698" y="5350787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49" name="Textplatzhalter 3">
            <a:extLst>
              <a:ext uri="{FF2B5EF4-FFF2-40B4-BE49-F238E27FC236}">
                <a16:creationId xmlns:a16="http://schemas.microsoft.com/office/drawing/2014/main" id="{3E6D7105-6DC5-40E3-930E-64F82A227CF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18695" y="5513158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50" name="Textplatzhalter 3">
            <a:extLst>
              <a:ext uri="{FF2B5EF4-FFF2-40B4-BE49-F238E27FC236}">
                <a16:creationId xmlns:a16="http://schemas.microsoft.com/office/drawing/2014/main" id="{99ABCF8A-5288-4AD2-AD05-F2DCD7B3144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98698" y="5513158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51" name="Textplatzhalter 3">
            <a:extLst>
              <a:ext uri="{FF2B5EF4-FFF2-40B4-BE49-F238E27FC236}">
                <a16:creationId xmlns:a16="http://schemas.microsoft.com/office/drawing/2014/main" id="{D439FC10-6D27-414C-842D-CD8DC74874E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18695" y="5675526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8D78D848-CFB5-4FEA-8392-0D99AC7358E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98698" y="5675526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55" name="Textplatzhalter 3">
            <a:extLst>
              <a:ext uri="{FF2B5EF4-FFF2-40B4-BE49-F238E27FC236}">
                <a16:creationId xmlns:a16="http://schemas.microsoft.com/office/drawing/2014/main" id="{6BCD8115-B35C-4642-877B-1EA74F941E68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499581" y="1764372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6" name="Textplatzhalter 3">
            <a:extLst>
              <a:ext uri="{FF2B5EF4-FFF2-40B4-BE49-F238E27FC236}">
                <a16:creationId xmlns:a16="http://schemas.microsoft.com/office/drawing/2014/main" id="{51EB63BA-B8AF-4BD3-91C9-FE08952B58A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3499578" y="1926736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7" name="Textplatzhalter 3">
            <a:extLst>
              <a:ext uri="{FF2B5EF4-FFF2-40B4-BE49-F238E27FC236}">
                <a16:creationId xmlns:a16="http://schemas.microsoft.com/office/drawing/2014/main" id="{A45705C6-C0D4-4C03-8F51-87D077B1C73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499581" y="2089108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58" name="Textplatzhalter 3">
            <a:extLst>
              <a:ext uri="{FF2B5EF4-FFF2-40B4-BE49-F238E27FC236}">
                <a16:creationId xmlns:a16="http://schemas.microsoft.com/office/drawing/2014/main" id="{CF007182-2558-4C0F-A653-0D002CCAFE8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499581" y="2251472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FDE80862-037E-4FED-B9B7-E6C4227C0D9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499578" y="2413844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60" name="Textplatzhalter 3">
            <a:extLst>
              <a:ext uri="{FF2B5EF4-FFF2-40B4-BE49-F238E27FC236}">
                <a16:creationId xmlns:a16="http://schemas.microsoft.com/office/drawing/2014/main" id="{C435A29A-8E54-4E7A-95D9-9D7B5983F5D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679581" y="2413844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8F356C87-27E3-467E-8BD0-4CA34109E18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499578" y="257621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31820810-7A4C-43E9-8E71-D25C484B2B5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679581" y="257621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63" name="Textplatzhalter 3">
            <a:extLst>
              <a:ext uri="{FF2B5EF4-FFF2-40B4-BE49-F238E27FC236}">
                <a16:creationId xmlns:a16="http://schemas.microsoft.com/office/drawing/2014/main" id="{37A7875D-B621-40BF-873E-E159CABB289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499578" y="2738579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64" name="Textplatzhalter 3">
            <a:extLst>
              <a:ext uri="{FF2B5EF4-FFF2-40B4-BE49-F238E27FC236}">
                <a16:creationId xmlns:a16="http://schemas.microsoft.com/office/drawing/2014/main" id="{23959D29-433A-49C0-AB72-E4727DBFCB4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679581" y="2738579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65" name="Textplatzhalter 3">
            <a:extLst>
              <a:ext uri="{FF2B5EF4-FFF2-40B4-BE49-F238E27FC236}">
                <a16:creationId xmlns:a16="http://schemas.microsoft.com/office/drawing/2014/main" id="{91C6D2C8-8B64-44D2-8F3F-CE2F988F9925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499581" y="3233984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6" name="Textplatzhalter 3">
            <a:extLst>
              <a:ext uri="{FF2B5EF4-FFF2-40B4-BE49-F238E27FC236}">
                <a16:creationId xmlns:a16="http://schemas.microsoft.com/office/drawing/2014/main" id="{4984F027-DE14-4D26-92F8-F3BB0E8C855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3499578" y="3396348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7" name="Textplatzhalter 3">
            <a:extLst>
              <a:ext uri="{FF2B5EF4-FFF2-40B4-BE49-F238E27FC236}">
                <a16:creationId xmlns:a16="http://schemas.microsoft.com/office/drawing/2014/main" id="{3F7F04CD-F9AA-4404-A30C-875D4ECFD20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499581" y="3558716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68" name="Textplatzhalter 3">
            <a:extLst>
              <a:ext uri="{FF2B5EF4-FFF2-40B4-BE49-F238E27FC236}">
                <a16:creationId xmlns:a16="http://schemas.microsoft.com/office/drawing/2014/main" id="{120A070E-F8A7-4BEB-8063-A77D2927F0A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499581" y="3721088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69" name="Textplatzhalter 3">
            <a:extLst>
              <a:ext uri="{FF2B5EF4-FFF2-40B4-BE49-F238E27FC236}">
                <a16:creationId xmlns:a16="http://schemas.microsoft.com/office/drawing/2014/main" id="{2AC0CE3C-3A13-4025-9FED-6D1B32FD717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499578" y="388345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70" name="Textplatzhalter 3">
            <a:extLst>
              <a:ext uri="{FF2B5EF4-FFF2-40B4-BE49-F238E27FC236}">
                <a16:creationId xmlns:a16="http://schemas.microsoft.com/office/drawing/2014/main" id="{2FD2A7D3-4CF4-412B-98B3-370970B48CB2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679581" y="388345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944BD036-02A9-467E-B286-BF683621619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499578" y="4045824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981C4525-F40F-4DB2-8516-0E0594B6E1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679581" y="4045824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73" name="Textplatzhalter 3">
            <a:extLst>
              <a:ext uri="{FF2B5EF4-FFF2-40B4-BE49-F238E27FC236}">
                <a16:creationId xmlns:a16="http://schemas.microsoft.com/office/drawing/2014/main" id="{944015EA-D993-4E24-8B94-BB3C423A3F2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499578" y="4208191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74" name="Textplatzhalter 3">
            <a:extLst>
              <a:ext uri="{FF2B5EF4-FFF2-40B4-BE49-F238E27FC236}">
                <a16:creationId xmlns:a16="http://schemas.microsoft.com/office/drawing/2014/main" id="{61975492-6C11-4431-9BD8-C4D936F22AA6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679581" y="4208191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75" name="Textplatzhalter 3">
            <a:extLst>
              <a:ext uri="{FF2B5EF4-FFF2-40B4-BE49-F238E27FC236}">
                <a16:creationId xmlns:a16="http://schemas.microsoft.com/office/drawing/2014/main" id="{5F13C928-91B2-4D0C-8483-C6F48514D976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6280465" y="1764372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6" name="Textplatzhalter 3">
            <a:extLst>
              <a:ext uri="{FF2B5EF4-FFF2-40B4-BE49-F238E27FC236}">
                <a16:creationId xmlns:a16="http://schemas.microsoft.com/office/drawing/2014/main" id="{8119FD9A-D6F4-4205-8088-1215C43042BA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6280460" y="1926736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7" name="Textplatzhalter 3">
            <a:extLst>
              <a:ext uri="{FF2B5EF4-FFF2-40B4-BE49-F238E27FC236}">
                <a16:creationId xmlns:a16="http://schemas.microsoft.com/office/drawing/2014/main" id="{3385911E-D95E-47A1-AA93-D97CF5E60F0E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80465" y="2089108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78" name="Textplatzhalter 3">
            <a:extLst>
              <a:ext uri="{FF2B5EF4-FFF2-40B4-BE49-F238E27FC236}">
                <a16:creationId xmlns:a16="http://schemas.microsoft.com/office/drawing/2014/main" id="{D42F793A-F270-4C55-A74D-FD6167C120C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280465" y="2251472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79" name="Textplatzhalter 3">
            <a:extLst>
              <a:ext uri="{FF2B5EF4-FFF2-40B4-BE49-F238E27FC236}">
                <a16:creationId xmlns:a16="http://schemas.microsoft.com/office/drawing/2014/main" id="{ED014D67-D4FB-4476-ADCA-2DC3E89831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80460" y="2413844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80" name="Textplatzhalter 3">
            <a:extLst>
              <a:ext uri="{FF2B5EF4-FFF2-40B4-BE49-F238E27FC236}">
                <a16:creationId xmlns:a16="http://schemas.microsoft.com/office/drawing/2014/main" id="{FECCC8EC-66B3-432D-B93D-C924181DC1C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460465" y="2413844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81" name="Textplatzhalter 3">
            <a:extLst>
              <a:ext uri="{FF2B5EF4-FFF2-40B4-BE49-F238E27FC236}">
                <a16:creationId xmlns:a16="http://schemas.microsoft.com/office/drawing/2014/main" id="{750A49D2-A114-4ADF-A5CC-3D82AAEFF97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280460" y="257621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82" name="Textplatzhalter 3">
            <a:extLst>
              <a:ext uri="{FF2B5EF4-FFF2-40B4-BE49-F238E27FC236}">
                <a16:creationId xmlns:a16="http://schemas.microsoft.com/office/drawing/2014/main" id="{4B7ECDE8-4B43-48A7-8807-050DFBC32F4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460465" y="257621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83" name="Textplatzhalter 3">
            <a:extLst>
              <a:ext uri="{FF2B5EF4-FFF2-40B4-BE49-F238E27FC236}">
                <a16:creationId xmlns:a16="http://schemas.microsoft.com/office/drawing/2014/main" id="{99DE85E7-A032-40B4-878B-C3CE61A8CA6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280460" y="2738579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84" name="Textplatzhalter 3">
            <a:extLst>
              <a:ext uri="{FF2B5EF4-FFF2-40B4-BE49-F238E27FC236}">
                <a16:creationId xmlns:a16="http://schemas.microsoft.com/office/drawing/2014/main" id="{F96DE20B-4923-4738-A208-8941C2E591EE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460465" y="2738579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85" name="Textplatzhalter 3">
            <a:extLst>
              <a:ext uri="{FF2B5EF4-FFF2-40B4-BE49-F238E27FC236}">
                <a16:creationId xmlns:a16="http://schemas.microsoft.com/office/drawing/2014/main" id="{D37437D5-CFBE-4B60-9D8F-6D6D0FF1BD8B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6280465" y="3233984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6" name="Textplatzhalter 3">
            <a:extLst>
              <a:ext uri="{FF2B5EF4-FFF2-40B4-BE49-F238E27FC236}">
                <a16:creationId xmlns:a16="http://schemas.microsoft.com/office/drawing/2014/main" id="{6FB91E31-6F7C-43D2-B123-BBD53D337ECF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6280460" y="3396348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7" name="Textplatzhalter 3">
            <a:extLst>
              <a:ext uri="{FF2B5EF4-FFF2-40B4-BE49-F238E27FC236}">
                <a16:creationId xmlns:a16="http://schemas.microsoft.com/office/drawing/2014/main" id="{27BC558D-7AFB-4C5F-BB10-452C74DC59C0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80465" y="3558716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88" name="Textplatzhalter 3">
            <a:extLst>
              <a:ext uri="{FF2B5EF4-FFF2-40B4-BE49-F238E27FC236}">
                <a16:creationId xmlns:a16="http://schemas.microsoft.com/office/drawing/2014/main" id="{593AAA8F-9725-41AB-983F-078DBAFA211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6280465" y="3721088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89" name="Textplatzhalter 3">
            <a:extLst>
              <a:ext uri="{FF2B5EF4-FFF2-40B4-BE49-F238E27FC236}">
                <a16:creationId xmlns:a16="http://schemas.microsoft.com/office/drawing/2014/main" id="{04C56A35-8E41-4EBA-9942-F93B868D8027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6280460" y="388345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90" name="Textplatzhalter 3">
            <a:extLst>
              <a:ext uri="{FF2B5EF4-FFF2-40B4-BE49-F238E27FC236}">
                <a16:creationId xmlns:a16="http://schemas.microsoft.com/office/drawing/2014/main" id="{2DBBC373-D2BD-4703-A0F5-C3B6033E2B80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6460465" y="388345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91" name="Textplatzhalter 3">
            <a:extLst>
              <a:ext uri="{FF2B5EF4-FFF2-40B4-BE49-F238E27FC236}">
                <a16:creationId xmlns:a16="http://schemas.microsoft.com/office/drawing/2014/main" id="{50F7672D-4307-498C-A4AE-DDEDFC56637A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6280460" y="4045824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92" name="Textplatzhalter 3">
            <a:extLst>
              <a:ext uri="{FF2B5EF4-FFF2-40B4-BE49-F238E27FC236}">
                <a16:creationId xmlns:a16="http://schemas.microsoft.com/office/drawing/2014/main" id="{8A5E011D-A0CB-4F63-A29D-619128D49D9E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460465" y="4045824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93" name="Textplatzhalter 3">
            <a:extLst>
              <a:ext uri="{FF2B5EF4-FFF2-40B4-BE49-F238E27FC236}">
                <a16:creationId xmlns:a16="http://schemas.microsoft.com/office/drawing/2014/main" id="{A588262D-57E2-4EDF-ADB0-E4B8ED83E546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280460" y="4208191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94" name="Textplatzhalter 3">
            <a:extLst>
              <a:ext uri="{FF2B5EF4-FFF2-40B4-BE49-F238E27FC236}">
                <a16:creationId xmlns:a16="http://schemas.microsoft.com/office/drawing/2014/main" id="{3B4B16B3-923A-429C-93E8-4DF1FAD0AF22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460465" y="4208191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95" name="Textplatzhalter 3">
            <a:extLst>
              <a:ext uri="{FF2B5EF4-FFF2-40B4-BE49-F238E27FC236}">
                <a16:creationId xmlns:a16="http://schemas.microsoft.com/office/drawing/2014/main" id="{4759891F-916C-4A9A-9958-A6C983E80198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>
          <a:xfrm>
            <a:off x="6280465" y="4701318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6" name="Textplatzhalter 3">
            <a:extLst>
              <a:ext uri="{FF2B5EF4-FFF2-40B4-BE49-F238E27FC236}">
                <a16:creationId xmlns:a16="http://schemas.microsoft.com/office/drawing/2014/main" id="{543179A2-7CB4-4643-B113-7C86B5BFD014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6280460" y="4863683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7" name="Textplatzhalter 3">
            <a:extLst>
              <a:ext uri="{FF2B5EF4-FFF2-40B4-BE49-F238E27FC236}">
                <a16:creationId xmlns:a16="http://schemas.microsoft.com/office/drawing/2014/main" id="{8E3AAB19-50B9-4BA5-ACBF-1B7F8AA4B2CC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6280465" y="5026054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98" name="Textplatzhalter 3">
            <a:extLst>
              <a:ext uri="{FF2B5EF4-FFF2-40B4-BE49-F238E27FC236}">
                <a16:creationId xmlns:a16="http://schemas.microsoft.com/office/drawing/2014/main" id="{C59D6CED-2EE8-44F1-B302-473D05371992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280465" y="5188420"/>
            <a:ext cx="2413247" cy="270366"/>
          </a:xfrm>
        </p:spPr>
        <p:txBody>
          <a:bodyPr tIns="0" anchor="t"/>
          <a:lstStyle>
            <a:lvl1pPr algn="l">
              <a:spcAft>
                <a:spcPts val="300"/>
              </a:spcAft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</a:t>
            </a:r>
          </a:p>
          <a:p>
            <a:pPr lvl="0"/>
            <a:r>
              <a:rPr lang="de-DE" dirty="0"/>
              <a:t>Stadt</a:t>
            </a:r>
          </a:p>
        </p:txBody>
      </p:sp>
      <p:sp>
        <p:nvSpPr>
          <p:cNvPr id="99" name="Textplatzhalter 3">
            <a:extLst>
              <a:ext uri="{FF2B5EF4-FFF2-40B4-BE49-F238E27FC236}">
                <a16:creationId xmlns:a16="http://schemas.microsoft.com/office/drawing/2014/main" id="{B5C44FEC-2A80-4496-BF78-55BBE2FB34EF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6280460" y="5544513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100" name="Textplatzhalter 3">
            <a:extLst>
              <a:ext uri="{FF2B5EF4-FFF2-40B4-BE49-F238E27FC236}">
                <a16:creationId xmlns:a16="http://schemas.microsoft.com/office/drawing/2014/main" id="{1BA37DE2-A9F1-4C75-AEA0-D699B6D61F8B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6460465" y="5544513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101" name="Textplatzhalter 3">
            <a:extLst>
              <a:ext uri="{FF2B5EF4-FFF2-40B4-BE49-F238E27FC236}">
                <a16:creationId xmlns:a16="http://schemas.microsoft.com/office/drawing/2014/main" id="{64B10AB4-90D4-4B4F-8A18-B86711E8EEE8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80460" y="5706878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102" name="Textplatzhalter 3">
            <a:extLst>
              <a:ext uri="{FF2B5EF4-FFF2-40B4-BE49-F238E27FC236}">
                <a16:creationId xmlns:a16="http://schemas.microsoft.com/office/drawing/2014/main" id="{7B472425-3676-460A-A403-A2BDBE3CF0D9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6460465" y="5706878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103" name="Textplatzhalter 3">
            <a:extLst>
              <a:ext uri="{FF2B5EF4-FFF2-40B4-BE49-F238E27FC236}">
                <a16:creationId xmlns:a16="http://schemas.microsoft.com/office/drawing/2014/main" id="{74B3BBFB-CE6C-40A6-94CE-53479CA487EC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6280460" y="5869247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104" name="Textplatzhalter 3">
            <a:extLst>
              <a:ext uri="{FF2B5EF4-FFF2-40B4-BE49-F238E27FC236}">
                <a16:creationId xmlns:a16="http://schemas.microsoft.com/office/drawing/2014/main" id="{7EC583B9-EF1E-4180-A1FE-117B1EC1AA0C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6460465" y="5869247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105" name="Textplatzhalter 3">
            <a:extLst>
              <a:ext uri="{FF2B5EF4-FFF2-40B4-BE49-F238E27FC236}">
                <a16:creationId xmlns:a16="http://schemas.microsoft.com/office/drawing/2014/main" id="{CD419293-1950-473F-99E2-B47B49F5474F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>
          <a:xfrm>
            <a:off x="9059622" y="1764372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6" name="Textplatzhalter 3">
            <a:extLst>
              <a:ext uri="{FF2B5EF4-FFF2-40B4-BE49-F238E27FC236}">
                <a16:creationId xmlns:a16="http://schemas.microsoft.com/office/drawing/2014/main" id="{1A60B90A-BFA3-4E37-8598-0678D2AD2BB1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>
          <a:xfrm>
            <a:off x="9059616" y="1926736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7" name="Textplatzhalter 3">
            <a:extLst>
              <a:ext uri="{FF2B5EF4-FFF2-40B4-BE49-F238E27FC236}">
                <a16:creationId xmlns:a16="http://schemas.microsoft.com/office/drawing/2014/main" id="{71473230-FCE4-488E-809E-F759B7EF8859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9059622" y="2086615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08" name="Textplatzhalter 3">
            <a:extLst>
              <a:ext uri="{FF2B5EF4-FFF2-40B4-BE49-F238E27FC236}">
                <a16:creationId xmlns:a16="http://schemas.microsoft.com/office/drawing/2014/main" id="{B8ED6208-53D5-4F0E-B95B-298A0E03134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9059622" y="2248986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09" name="Textplatzhalter 3">
            <a:extLst>
              <a:ext uri="{FF2B5EF4-FFF2-40B4-BE49-F238E27FC236}">
                <a16:creationId xmlns:a16="http://schemas.microsoft.com/office/drawing/2014/main" id="{5EF8315B-955E-4A94-8878-BC46B370433E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059620" y="2896250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110" name="Textplatzhalter 3">
            <a:extLst>
              <a:ext uri="{FF2B5EF4-FFF2-40B4-BE49-F238E27FC236}">
                <a16:creationId xmlns:a16="http://schemas.microsoft.com/office/drawing/2014/main" id="{6646E3E4-BFB3-4ED5-94B4-D3E6EF77210B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239617" y="2896250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111" name="Textplatzhalter 3">
            <a:extLst>
              <a:ext uri="{FF2B5EF4-FFF2-40B4-BE49-F238E27FC236}">
                <a16:creationId xmlns:a16="http://schemas.microsoft.com/office/drawing/2014/main" id="{402E2723-7BE3-4604-9AA7-9642AEFCA1B9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059620" y="3058615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112" name="Textplatzhalter 3">
            <a:extLst>
              <a:ext uri="{FF2B5EF4-FFF2-40B4-BE49-F238E27FC236}">
                <a16:creationId xmlns:a16="http://schemas.microsoft.com/office/drawing/2014/main" id="{448FE543-A9BF-4B7A-9DDC-AD3C1A0059DE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9239617" y="3058615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113" name="Textplatzhalter 3">
            <a:extLst>
              <a:ext uri="{FF2B5EF4-FFF2-40B4-BE49-F238E27FC236}">
                <a16:creationId xmlns:a16="http://schemas.microsoft.com/office/drawing/2014/main" id="{1AA263BE-533F-4635-A887-8FAA95CF23EC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9059620" y="3220988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114" name="Textplatzhalter 3">
            <a:extLst>
              <a:ext uri="{FF2B5EF4-FFF2-40B4-BE49-F238E27FC236}">
                <a16:creationId xmlns:a16="http://schemas.microsoft.com/office/drawing/2014/main" id="{2C61DCC7-59E4-4524-A2CF-D01EBDC00C92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239617" y="3220988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145" name="Textplatzhalter 3">
            <a:extLst>
              <a:ext uri="{FF2B5EF4-FFF2-40B4-BE49-F238E27FC236}">
                <a16:creationId xmlns:a16="http://schemas.microsoft.com/office/drawing/2014/main" id="{194D5807-C66D-491C-851F-D972B2EE8196}"/>
              </a:ext>
            </a:extLst>
          </p:cNvPr>
          <p:cNvSpPr>
            <a:spLocks noGrp="1"/>
          </p:cNvSpPr>
          <p:nvPr>
            <p:ph type="body" sz="quarter" idx="138" hasCustomPrompt="1"/>
          </p:nvPr>
        </p:nvSpPr>
        <p:spPr>
          <a:xfrm>
            <a:off x="9059622" y="2413844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46" name="Textplatzhalter 3">
            <a:extLst>
              <a:ext uri="{FF2B5EF4-FFF2-40B4-BE49-F238E27FC236}">
                <a16:creationId xmlns:a16="http://schemas.microsoft.com/office/drawing/2014/main" id="{8B787ECD-9C97-402C-A24B-9202BEB9B3F6}"/>
              </a:ext>
            </a:extLst>
          </p:cNvPr>
          <p:cNvSpPr>
            <a:spLocks noGrp="1"/>
          </p:cNvSpPr>
          <p:nvPr>
            <p:ph type="body" sz="quarter" idx="139" hasCustomPrompt="1"/>
          </p:nvPr>
        </p:nvSpPr>
        <p:spPr>
          <a:xfrm>
            <a:off x="9059622" y="2576212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47" name="Textplatzhalter 3">
            <a:extLst>
              <a:ext uri="{FF2B5EF4-FFF2-40B4-BE49-F238E27FC236}">
                <a16:creationId xmlns:a16="http://schemas.microsoft.com/office/drawing/2014/main" id="{35A1E027-6DE6-4AEC-B0AA-B2FF697F775A}"/>
              </a:ext>
            </a:extLst>
          </p:cNvPr>
          <p:cNvSpPr>
            <a:spLocks noGrp="1"/>
          </p:cNvSpPr>
          <p:nvPr>
            <p:ph type="body" sz="quarter" idx="140" hasCustomPrompt="1"/>
          </p:nvPr>
        </p:nvSpPr>
        <p:spPr>
          <a:xfrm>
            <a:off x="9059622" y="2735683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pic>
        <p:nvPicPr>
          <p:cNvPr id="116" name="Grafik 1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9" y="5731828"/>
            <a:ext cx="1259633" cy="1129004"/>
          </a:xfrm>
          <a:prstGeom prst="rect">
            <a:avLst/>
          </a:prstGeom>
        </p:spPr>
      </p:pic>
      <p:pic>
        <p:nvPicPr>
          <p:cNvPr id="117" name="Grafik 1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6" y="319089"/>
            <a:ext cx="1308100" cy="314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8211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1236921D-785A-46CD-AB8A-8D500253F2F5}"/>
              </a:ext>
            </a:extLst>
          </p:cNvPr>
          <p:cNvSpPr/>
          <p:nvPr userDrawn="1"/>
        </p:nvSpPr>
        <p:spPr>
          <a:xfrm>
            <a:off x="717555" y="5944968"/>
            <a:ext cx="4943999" cy="370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457189">
              <a:lnSpc>
                <a:spcPts val="1400"/>
              </a:lnSpc>
            </a:pP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БЕРЛИН</a:t>
            </a:r>
            <a:r>
              <a:rPr lang="en-US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БРЮССЕЛЬ</a:t>
            </a:r>
            <a:r>
              <a:rPr lang="en-US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ГАМБУРГ</a:t>
            </a:r>
            <a:r>
              <a:rPr lang="en-US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ДЮССЕЛЬДОРФ</a:t>
            </a:r>
            <a:r>
              <a:rPr lang="en-US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МОСКВА</a:t>
            </a:r>
            <a:r>
              <a:rPr lang="en-US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МЮНХЕН</a:t>
            </a:r>
            <a:r>
              <a:rPr lang="en-US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 </a:t>
            </a:r>
            <a:endParaRPr lang="ru-RU" sz="900" cap="all" spc="51" dirty="0">
              <a:solidFill>
                <a:srgbClr val="003E77"/>
              </a:solidFill>
              <a:cs typeface="Arial" panose="020B0604020202020204" pitchFamily="34" charset="0"/>
            </a:endParaRPr>
          </a:p>
          <a:p>
            <a:pPr defTabSz="457189">
              <a:lnSpc>
                <a:spcPts val="1400"/>
              </a:lnSpc>
            </a:pP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ПЕКИН</a:t>
            </a:r>
            <a:r>
              <a:rPr lang="en-US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САНКТ-ПЕТЕРБУРГ</a:t>
            </a:r>
            <a:r>
              <a:rPr lang="en-US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ФРАНКФУРТ-НА-МАЙНЕ</a:t>
            </a:r>
            <a:endParaRPr lang="en-US" sz="900" cap="all" spc="51" dirty="0">
              <a:solidFill>
                <a:srgbClr val="003E77"/>
              </a:solidFill>
              <a:cs typeface="Arial" panose="020B0604020202020204" pitchFamily="34" charset="0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88B46C6-B9CC-46C8-9953-98C0986125B7}"/>
              </a:ext>
            </a:extLst>
          </p:cNvPr>
          <p:cNvSpPr/>
          <p:nvPr userDrawn="1"/>
        </p:nvSpPr>
        <p:spPr>
          <a:xfrm>
            <a:off x="717555" y="6426636"/>
            <a:ext cx="4943999" cy="2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457189">
              <a:lnSpc>
                <a:spcPts val="1400"/>
              </a:lnSpc>
            </a:pPr>
            <a:r>
              <a:rPr lang="de-DE" sz="1200" b="1" cap="all" spc="100" dirty="0">
                <a:solidFill>
                  <a:srgbClr val="003E77"/>
                </a:solidFill>
              </a:rPr>
              <a:t>www.Beitenburkhardt.com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3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594722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AEC09ABE-AD2A-40C7-BE02-8D6A5F763BF0}"/>
              </a:ext>
            </a:extLst>
          </p:cNvPr>
          <p:cNvCxnSpPr/>
          <p:nvPr userDrawn="1"/>
        </p:nvCxnSpPr>
        <p:spPr>
          <a:xfrm>
            <a:off x="719999" y="1764000"/>
            <a:ext cx="134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platzhalter 15">
            <a:extLst>
              <a:ext uri="{FF2B5EF4-FFF2-40B4-BE49-F238E27FC236}">
                <a16:creationId xmlns:a16="http://schemas.microsoft.com/office/drawing/2014/main" id="{0DBE3578-AD7F-4F50-9857-1DD2A84654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78798" y="1857134"/>
            <a:ext cx="4007703" cy="698212"/>
          </a:xfrm>
        </p:spPr>
        <p:txBody>
          <a:bodyPr wrap="square" tIns="0">
            <a:noAutofit/>
          </a:bodyPr>
          <a:lstStyle>
            <a:lvl1pPr algn="l">
              <a:lnSpc>
                <a:spcPct val="100000"/>
              </a:lnSpc>
              <a:spcAft>
                <a:spcPts val="600"/>
              </a:spcAft>
              <a:tabLst>
                <a:tab pos="182558" algn="l"/>
              </a:tabLst>
              <a:defRPr sz="1700" cap="none" spc="0" baseline="0">
                <a:solidFill>
                  <a:schemeClr val="accent4"/>
                </a:solidFill>
              </a:defRPr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Funktion  |  Position  |  auch zweizeilig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BE5019AB-39A6-44C5-863C-C04584D3CE9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9999" y="1908000"/>
            <a:ext cx="1342800" cy="1699200"/>
          </a:xfrm>
          <a:solidFill>
            <a:schemeClr val="bg2"/>
          </a:solidFill>
        </p:spPr>
        <p:txBody>
          <a:bodyPr wrap="square" tIns="0" bIns="539987" anchor="ctr">
            <a:no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Portrait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50FE44F9-87CE-4838-9679-5666042C1ADF}"/>
              </a:ext>
            </a:extLst>
          </p:cNvPr>
          <p:cNvCxnSpPr/>
          <p:nvPr userDrawn="1"/>
        </p:nvCxnSpPr>
        <p:spPr>
          <a:xfrm>
            <a:off x="2278799" y="1764000"/>
            <a:ext cx="40077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9CA4D80-58A8-48AD-8B6A-8F1ECBC0FEA0}"/>
              </a:ext>
            </a:extLst>
          </p:cNvPr>
          <p:cNvCxnSpPr>
            <a:cxnSpLocks/>
          </p:cNvCxnSpPr>
          <p:nvPr userDrawn="1"/>
        </p:nvCxnSpPr>
        <p:spPr>
          <a:xfrm>
            <a:off x="6819901" y="1764000"/>
            <a:ext cx="46520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15">
            <a:extLst>
              <a:ext uri="{FF2B5EF4-FFF2-40B4-BE49-F238E27FC236}">
                <a16:creationId xmlns:a16="http://schemas.microsoft.com/office/drawing/2014/main" id="{438AE2FC-E8C3-43A9-A707-BAD4FA72CB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78798" y="2667002"/>
            <a:ext cx="4007703" cy="993775"/>
          </a:xfrm>
        </p:spPr>
        <p:txBody>
          <a:bodyPr wrap="square" tIns="0" anchor="b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58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Adresse</a:t>
            </a:r>
            <a:br>
              <a:rPr lang="de-DE" dirty="0"/>
            </a:br>
            <a:r>
              <a:rPr lang="de-DE" dirty="0"/>
              <a:t>Kurfürstenstraße 72 – 74</a:t>
            </a:r>
            <a:br>
              <a:rPr lang="de-DE" dirty="0"/>
            </a:br>
            <a:r>
              <a:rPr lang="de-DE" dirty="0"/>
              <a:t>10787 Berlin</a:t>
            </a:r>
          </a:p>
        </p:txBody>
      </p:sp>
      <p:sp>
        <p:nvSpPr>
          <p:cNvPr id="41" name="Textplatzhalter 15">
            <a:extLst>
              <a:ext uri="{FF2B5EF4-FFF2-40B4-BE49-F238E27FC236}">
                <a16:creationId xmlns:a16="http://schemas.microsoft.com/office/drawing/2014/main" id="{23057C50-88C9-4365-8E0C-44E6EAE73E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78798" y="4710695"/>
            <a:ext cx="4007703" cy="528056"/>
          </a:xfrm>
        </p:spPr>
        <p:txBody>
          <a:bodyPr wrap="square" tIns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58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Bereich eingeben </a:t>
            </a:r>
            <a:br>
              <a:rPr lang="de-DE" dirty="0"/>
            </a:br>
            <a:r>
              <a:rPr lang="de-DE" dirty="0"/>
              <a:t>auch zweizeilig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2278798" y="4433345"/>
            <a:ext cx="4007703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ru-RU" sz="1700" b="1" dirty="0">
                <a:solidFill>
                  <a:srgbClr val="0096AF"/>
                </a:solidFill>
              </a:rPr>
              <a:t>Практика</a:t>
            </a:r>
            <a:endParaRPr lang="de-DE" sz="1700" b="1" dirty="0">
              <a:solidFill>
                <a:srgbClr val="0096AF"/>
              </a:solidFill>
            </a:endParaRPr>
          </a:p>
        </p:txBody>
      </p:sp>
      <p:sp>
        <p:nvSpPr>
          <p:cNvPr id="48" name="Textplatzhalter 15">
            <a:extLst>
              <a:ext uri="{FF2B5EF4-FFF2-40B4-BE49-F238E27FC236}">
                <a16:creationId xmlns:a16="http://schemas.microsoft.com/office/drawing/2014/main" id="{26DB06FC-3496-4BEF-BDD4-B9337A2252E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57050" y="5417111"/>
            <a:ext cx="3729452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+49 XX XXXXX-XXX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B935C04-6484-4D75-8764-D184DCED57DC}"/>
              </a:ext>
            </a:extLst>
          </p:cNvPr>
          <p:cNvSpPr/>
          <p:nvPr userDrawn="1"/>
        </p:nvSpPr>
        <p:spPr>
          <a:xfrm>
            <a:off x="2278797" y="5417111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700" b="1" dirty="0">
                <a:solidFill>
                  <a:srgbClr val="0096AF"/>
                </a:solidFill>
              </a:rPr>
              <a:t>T</a:t>
            </a:r>
          </a:p>
        </p:txBody>
      </p:sp>
      <p:sp>
        <p:nvSpPr>
          <p:cNvPr id="50" name="Textplatzhalter 15">
            <a:extLst>
              <a:ext uri="{FF2B5EF4-FFF2-40B4-BE49-F238E27FC236}">
                <a16:creationId xmlns:a16="http://schemas.microsoft.com/office/drawing/2014/main" id="{A6C426AD-E048-4CEB-BDC5-13D8ADAFB5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57050" y="5705295"/>
            <a:ext cx="3729452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vorname.nachname@bblaw.com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E54096E-7C68-42B4-A80E-CE44F08263A2}"/>
              </a:ext>
            </a:extLst>
          </p:cNvPr>
          <p:cNvSpPr/>
          <p:nvPr userDrawn="1"/>
        </p:nvSpPr>
        <p:spPr>
          <a:xfrm>
            <a:off x="2278797" y="5705295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700" b="1" dirty="0">
                <a:solidFill>
                  <a:srgbClr val="0096AF"/>
                </a:solidFill>
              </a:rPr>
              <a:t>E</a:t>
            </a:r>
          </a:p>
        </p:txBody>
      </p:sp>
      <p:sp>
        <p:nvSpPr>
          <p:cNvPr id="55" name="Textplatzhalter 15">
            <a:extLst>
              <a:ext uri="{FF2B5EF4-FFF2-40B4-BE49-F238E27FC236}">
                <a16:creationId xmlns:a16="http://schemas.microsoft.com/office/drawing/2014/main" id="{B13936D6-B557-466B-8183-885D8F21F15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19901" y="2175176"/>
            <a:ext cx="4652087" cy="2757063"/>
          </a:xfrm>
        </p:spPr>
        <p:txBody>
          <a:bodyPr wrap="square" tIns="0">
            <a:noAutofit/>
          </a:bodyPr>
          <a:lstStyle>
            <a:lvl1pPr marL="171446" indent="-171446" algn="l">
              <a:lnSpc>
                <a:spcPct val="100000"/>
              </a:lnSpc>
              <a:spcAft>
                <a:spcPts val="600"/>
              </a:spcAft>
              <a:buClr>
                <a:srgbClr val="00899C"/>
              </a:buClr>
              <a:buFont typeface="Wingdings" panose="05000000000000000000" pitchFamily="2" charset="2"/>
              <a:buChar char="§"/>
              <a:tabLst>
                <a:tab pos="182558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Spezialisierung eingeben</a:t>
            </a:r>
          </a:p>
          <a:p>
            <a:pPr lvl="0"/>
            <a:r>
              <a:rPr lang="de-DE" dirty="0"/>
              <a:t> </a:t>
            </a:r>
          </a:p>
          <a:p>
            <a:pPr lvl="0"/>
            <a:r>
              <a:rPr lang="de-DE" dirty="0"/>
              <a:t> </a:t>
            </a:r>
          </a:p>
          <a:p>
            <a:pPr lvl="0"/>
            <a:r>
              <a:rPr lang="de-DE" dirty="0"/>
              <a:t> </a:t>
            </a:r>
          </a:p>
          <a:p>
            <a:pPr lvl="0"/>
            <a:r>
              <a:rPr lang="de-DE" dirty="0"/>
              <a:t> </a:t>
            </a:r>
          </a:p>
          <a:p>
            <a:pPr lvl="0"/>
            <a:r>
              <a:rPr lang="de-DE" dirty="0"/>
              <a:t> </a:t>
            </a:r>
          </a:p>
        </p:txBody>
      </p:sp>
      <p:sp>
        <p:nvSpPr>
          <p:cNvPr id="57" name="Textplatzhalter 15">
            <a:extLst>
              <a:ext uri="{FF2B5EF4-FFF2-40B4-BE49-F238E27FC236}">
                <a16:creationId xmlns:a16="http://schemas.microsoft.com/office/drawing/2014/main" id="{A0B6DC68-0775-43A7-BBA2-13E6F8A7E3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18314" y="5705299"/>
            <a:ext cx="3636000" cy="143998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Sprachen eingeb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C5A81F68-CDAB-4F86-B0D2-FC17A14E9F73}"/>
              </a:ext>
            </a:extLst>
          </p:cNvPr>
          <p:cNvCxnSpPr/>
          <p:nvPr userDrawn="1"/>
        </p:nvCxnSpPr>
        <p:spPr>
          <a:xfrm>
            <a:off x="2278799" y="5352935"/>
            <a:ext cx="40077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B20011F3-B3D5-4F94-8A7B-6666124605C4}"/>
              </a:ext>
            </a:extLst>
          </p:cNvPr>
          <p:cNvCxnSpPr/>
          <p:nvPr userDrawn="1"/>
        </p:nvCxnSpPr>
        <p:spPr>
          <a:xfrm>
            <a:off x="6819901" y="5352935"/>
            <a:ext cx="46520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>
            <a:extLst>
              <a:ext uri="{FF2B5EF4-FFF2-40B4-BE49-F238E27FC236}">
                <a16:creationId xmlns:a16="http://schemas.microsoft.com/office/drawing/2014/main" id="{B7A4E051-68C3-4BF3-86DD-8FC185587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720000"/>
            <a:ext cx="10751987" cy="792000"/>
          </a:xfrm>
        </p:spPr>
        <p:txBody>
          <a:bodyPr wrap="square">
            <a:noAutofit/>
          </a:bodyPr>
          <a:lstStyle>
            <a:lvl1pPr algn="l"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6819902" y="5421248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ru-RU" sz="1700" b="1" dirty="0">
                <a:solidFill>
                  <a:srgbClr val="0096AF"/>
                </a:solidFill>
              </a:rPr>
              <a:t>Языки</a:t>
            </a:r>
            <a:endParaRPr lang="de-DE" sz="1700" b="1" dirty="0">
              <a:solidFill>
                <a:srgbClr val="0096AF"/>
              </a:solidFill>
            </a:endParaRPr>
          </a:p>
        </p:txBody>
      </p:sp>
      <p:pic>
        <p:nvPicPr>
          <p:cNvPr id="3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0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chteck 35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6819900" y="1915114"/>
            <a:ext cx="3531454" cy="15567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ru-RU" sz="1700" b="1" dirty="0">
                <a:solidFill>
                  <a:srgbClr val="0096AF"/>
                </a:solidFill>
              </a:rPr>
              <a:t>Специализация</a:t>
            </a:r>
            <a:endParaRPr lang="de-DE" sz="1700" b="1" dirty="0">
              <a:solidFill>
                <a:srgbClr val="0096AF"/>
              </a:solidFill>
            </a:endParaRPr>
          </a:p>
        </p:txBody>
      </p:sp>
      <p:sp>
        <p:nvSpPr>
          <p:cNvPr id="27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1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3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6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0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11884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AEC09ABE-AD2A-40C7-BE02-8D6A5F763BF0}"/>
              </a:ext>
            </a:extLst>
          </p:cNvPr>
          <p:cNvCxnSpPr/>
          <p:nvPr userDrawn="1"/>
        </p:nvCxnSpPr>
        <p:spPr>
          <a:xfrm>
            <a:off x="719999" y="1764000"/>
            <a:ext cx="134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platzhalter 15">
            <a:extLst>
              <a:ext uri="{FF2B5EF4-FFF2-40B4-BE49-F238E27FC236}">
                <a16:creationId xmlns:a16="http://schemas.microsoft.com/office/drawing/2014/main" id="{0DBE3578-AD7F-4F50-9857-1DD2A84654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77955" y="1857845"/>
            <a:ext cx="3636000" cy="408766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100" cap="none" spc="0" baseline="0">
                <a:solidFill>
                  <a:srgbClr val="00899C"/>
                </a:solidFill>
              </a:defRPr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Funktion  |  Position  |  auch zweizeilig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BE5019AB-39A6-44C5-863C-C04584D3CE9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9999" y="1908000"/>
            <a:ext cx="1342800" cy="1699200"/>
          </a:xfrm>
          <a:solidFill>
            <a:schemeClr val="bg2"/>
          </a:solidFill>
        </p:spPr>
        <p:txBody>
          <a:bodyPr wrap="square" tIns="0" bIns="539987" anchor="ctr">
            <a:no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Portrait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50FE44F9-87CE-4838-9679-5666042C1ADF}"/>
              </a:ext>
            </a:extLst>
          </p:cNvPr>
          <p:cNvCxnSpPr/>
          <p:nvPr userDrawn="1"/>
        </p:nvCxnSpPr>
        <p:spPr>
          <a:xfrm>
            <a:off x="2278799" y="1764000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15">
            <a:extLst>
              <a:ext uri="{FF2B5EF4-FFF2-40B4-BE49-F238E27FC236}">
                <a16:creationId xmlns:a16="http://schemas.microsoft.com/office/drawing/2014/main" id="{438AE2FC-E8C3-43A9-A707-BAD4FA72CB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77955" y="2264571"/>
            <a:ext cx="3636000" cy="574521"/>
          </a:xfrm>
        </p:spPr>
        <p:txBody>
          <a:bodyPr wrap="square" tIns="0" anchor="b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Adresse</a:t>
            </a:r>
            <a:br>
              <a:rPr lang="de-DE" dirty="0"/>
            </a:br>
            <a:r>
              <a:rPr lang="de-DE" dirty="0"/>
              <a:t>Kurfürstenstraße 72 – 74</a:t>
            </a:r>
            <a:br>
              <a:rPr lang="de-DE" dirty="0"/>
            </a:br>
            <a:r>
              <a:rPr lang="de-DE" dirty="0"/>
              <a:t>10787 Berlin</a:t>
            </a:r>
          </a:p>
        </p:txBody>
      </p:sp>
      <p:sp>
        <p:nvSpPr>
          <p:cNvPr id="41" name="Textplatzhalter 15">
            <a:extLst>
              <a:ext uri="{FF2B5EF4-FFF2-40B4-BE49-F238E27FC236}">
                <a16:creationId xmlns:a16="http://schemas.microsoft.com/office/drawing/2014/main" id="{23057C50-88C9-4365-8E0C-44E6EAE73E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74220" y="3067860"/>
            <a:ext cx="2640582" cy="396000"/>
          </a:xfrm>
        </p:spPr>
        <p:txBody>
          <a:bodyPr wrap="square" tIns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Bereich eingeben </a:t>
            </a:r>
            <a:br>
              <a:rPr lang="de-DE" dirty="0"/>
            </a:br>
            <a:r>
              <a:rPr lang="de-DE" dirty="0"/>
              <a:t>auch zweizeilig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2277955" y="3050524"/>
            <a:ext cx="972000" cy="180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899C"/>
                </a:solidFill>
              </a:rPr>
              <a:t>Praxisgruppe</a:t>
            </a:r>
          </a:p>
        </p:txBody>
      </p:sp>
      <p:sp>
        <p:nvSpPr>
          <p:cNvPr id="48" name="Textplatzhalter 15">
            <a:extLst>
              <a:ext uri="{FF2B5EF4-FFF2-40B4-BE49-F238E27FC236}">
                <a16:creationId xmlns:a16="http://schemas.microsoft.com/office/drawing/2014/main" id="{26DB06FC-3496-4BEF-BDD4-B9337A2252E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57050" y="3460218"/>
            <a:ext cx="3357751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+49 XX XXXXX-XXX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B935C04-6484-4D75-8764-D184DCED57DC}"/>
              </a:ext>
            </a:extLst>
          </p:cNvPr>
          <p:cNvSpPr/>
          <p:nvPr userDrawn="1"/>
        </p:nvSpPr>
        <p:spPr>
          <a:xfrm>
            <a:off x="2277955" y="3458552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T</a:t>
            </a:r>
          </a:p>
        </p:txBody>
      </p:sp>
      <p:sp>
        <p:nvSpPr>
          <p:cNvPr id="50" name="Textplatzhalter 15">
            <a:extLst>
              <a:ext uri="{FF2B5EF4-FFF2-40B4-BE49-F238E27FC236}">
                <a16:creationId xmlns:a16="http://schemas.microsoft.com/office/drawing/2014/main" id="{A6C426AD-E048-4CEB-BDC5-13D8ADAFB5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57050" y="3664589"/>
            <a:ext cx="3357751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vorname.nachname@bblaw.com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E54096E-7C68-42B4-A80E-CE44F08263A2}"/>
              </a:ext>
            </a:extLst>
          </p:cNvPr>
          <p:cNvSpPr/>
          <p:nvPr userDrawn="1"/>
        </p:nvSpPr>
        <p:spPr>
          <a:xfrm>
            <a:off x="2277955" y="3662923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E</a:t>
            </a:r>
          </a:p>
        </p:txBody>
      </p:sp>
      <p:sp>
        <p:nvSpPr>
          <p:cNvPr id="55" name="Textplatzhalter 15">
            <a:extLst>
              <a:ext uri="{FF2B5EF4-FFF2-40B4-BE49-F238E27FC236}">
                <a16:creationId xmlns:a16="http://schemas.microsoft.com/office/drawing/2014/main" id="{B13936D6-B557-466B-8183-885D8F21F15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77955" y="4293639"/>
            <a:ext cx="3636000" cy="1260000"/>
          </a:xfrm>
        </p:spPr>
        <p:txBody>
          <a:bodyPr wrap="square" tIns="0">
            <a:noAutofit/>
          </a:bodyPr>
          <a:lstStyle>
            <a:lvl1pPr marL="171446" indent="-171446" algn="l">
              <a:lnSpc>
                <a:spcPts val="1600"/>
              </a:lnSpc>
              <a:spcAft>
                <a:spcPts val="0"/>
              </a:spcAft>
              <a:buClr>
                <a:srgbClr val="00899C"/>
              </a:buClr>
              <a:buFont typeface="Wingdings" panose="05000000000000000000" pitchFamily="2" charset="2"/>
              <a:buChar char="§"/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Spezialisierung eingeb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C5A81F68-CDAB-4F86-B0D2-FC17A14E9F73}"/>
              </a:ext>
            </a:extLst>
          </p:cNvPr>
          <p:cNvCxnSpPr/>
          <p:nvPr userDrawn="1"/>
        </p:nvCxnSpPr>
        <p:spPr>
          <a:xfrm>
            <a:off x="2278799" y="3970115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>
            <a:extLst>
              <a:ext uri="{FF2B5EF4-FFF2-40B4-BE49-F238E27FC236}">
                <a16:creationId xmlns:a16="http://schemas.microsoft.com/office/drawing/2014/main" id="{B7A4E051-68C3-4BF3-86DD-8FC185587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720000"/>
            <a:ext cx="5194800" cy="792000"/>
          </a:xfrm>
        </p:spPr>
        <p:txBody>
          <a:bodyPr wrap="square">
            <a:noAutofit/>
          </a:bodyPr>
          <a:lstStyle>
            <a:lvl1pPr algn="l">
              <a:defRPr spc="60" baseline="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7736D829-D252-467B-823D-5E89F4482759}"/>
              </a:ext>
            </a:extLst>
          </p:cNvPr>
          <p:cNvCxnSpPr/>
          <p:nvPr userDrawn="1"/>
        </p:nvCxnSpPr>
        <p:spPr>
          <a:xfrm>
            <a:off x="6277203" y="1764000"/>
            <a:ext cx="134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80ECECF0-8DDA-48D6-A9B0-DB1A178E398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36001" y="1857845"/>
            <a:ext cx="3636000" cy="408766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100" cap="none" spc="0" baseline="0">
                <a:solidFill>
                  <a:schemeClr val="accent4"/>
                </a:solidFill>
              </a:defRPr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Funktion  |  Position  |  auch zweizeilig</a:t>
            </a:r>
          </a:p>
        </p:txBody>
      </p:sp>
      <p:sp>
        <p:nvSpPr>
          <p:cNvPr id="27" name="Bildplatzhalter 30">
            <a:extLst>
              <a:ext uri="{FF2B5EF4-FFF2-40B4-BE49-F238E27FC236}">
                <a16:creationId xmlns:a16="http://schemas.microsoft.com/office/drawing/2014/main" id="{4935B6D7-8E58-49AF-A83D-D1376A237C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77203" y="1908000"/>
            <a:ext cx="1342800" cy="1699200"/>
          </a:xfrm>
          <a:solidFill>
            <a:schemeClr val="bg2"/>
          </a:solidFill>
        </p:spPr>
        <p:txBody>
          <a:bodyPr wrap="square" tIns="0" bIns="539987" anchor="ctr">
            <a:no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Portrait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D3D95ABC-68E4-4F66-824B-147332A09981}"/>
              </a:ext>
            </a:extLst>
          </p:cNvPr>
          <p:cNvCxnSpPr/>
          <p:nvPr userDrawn="1"/>
        </p:nvCxnSpPr>
        <p:spPr>
          <a:xfrm>
            <a:off x="7836004" y="1764000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15">
            <a:extLst>
              <a:ext uri="{FF2B5EF4-FFF2-40B4-BE49-F238E27FC236}">
                <a16:creationId xmlns:a16="http://schemas.microsoft.com/office/drawing/2014/main" id="{30CCF38B-383C-41A2-A127-FD319E715E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36001" y="2264571"/>
            <a:ext cx="3636000" cy="574521"/>
          </a:xfrm>
        </p:spPr>
        <p:txBody>
          <a:bodyPr wrap="square" tIns="0" anchor="b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Adresse</a:t>
            </a:r>
            <a:br>
              <a:rPr lang="de-DE" dirty="0"/>
            </a:br>
            <a:r>
              <a:rPr lang="de-DE" dirty="0"/>
              <a:t>Kurfürstenstraße 72 – 74</a:t>
            </a:r>
            <a:br>
              <a:rPr lang="de-DE" dirty="0"/>
            </a:br>
            <a:r>
              <a:rPr lang="de-DE" dirty="0"/>
              <a:t>10787 Berlin</a:t>
            </a:r>
          </a:p>
        </p:txBody>
      </p:sp>
      <p:sp>
        <p:nvSpPr>
          <p:cNvPr id="33" name="Textplatzhalter 15">
            <a:extLst>
              <a:ext uri="{FF2B5EF4-FFF2-40B4-BE49-F238E27FC236}">
                <a16:creationId xmlns:a16="http://schemas.microsoft.com/office/drawing/2014/main" id="{3300BC44-E531-4F0B-85CF-BB44846DE0F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31422" y="3067860"/>
            <a:ext cx="2640582" cy="396000"/>
          </a:xfrm>
        </p:spPr>
        <p:txBody>
          <a:bodyPr wrap="square" tIns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Bereich eingeben </a:t>
            </a:r>
            <a:br>
              <a:rPr lang="de-DE" dirty="0"/>
            </a:br>
            <a:r>
              <a:rPr lang="de-DE" dirty="0"/>
              <a:t>auch zweizeilig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E5557544-5A9F-44DE-9A47-DDAF4E2786CC}"/>
              </a:ext>
            </a:extLst>
          </p:cNvPr>
          <p:cNvSpPr/>
          <p:nvPr userDrawn="1"/>
        </p:nvSpPr>
        <p:spPr>
          <a:xfrm>
            <a:off x="7836000" y="3050524"/>
            <a:ext cx="972000" cy="180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Praxisgruppe</a:t>
            </a:r>
          </a:p>
        </p:txBody>
      </p:sp>
      <p:sp>
        <p:nvSpPr>
          <p:cNvPr id="35" name="Textplatzhalter 15">
            <a:extLst>
              <a:ext uri="{FF2B5EF4-FFF2-40B4-BE49-F238E27FC236}">
                <a16:creationId xmlns:a16="http://schemas.microsoft.com/office/drawing/2014/main" id="{F2999124-3124-4797-8EA9-4966132A347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14252" y="3458688"/>
            <a:ext cx="3357751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+49 XX XXXXX-XXX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4CDE5877-5A28-4090-ADB9-9B5BF9CDBCCE}"/>
              </a:ext>
            </a:extLst>
          </p:cNvPr>
          <p:cNvSpPr/>
          <p:nvPr userDrawn="1"/>
        </p:nvSpPr>
        <p:spPr>
          <a:xfrm>
            <a:off x="7836001" y="3461951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T</a:t>
            </a:r>
          </a:p>
        </p:txBody>
      </p:sp>
      <p:sp>
        <p:nvSpPr>
          <p:cNvPr id="43" name="Textplatzhalter 15">
            <a:extLst>
              <a:ext uri="{FF2B5EF4-FFF2-40B4-BE49-F238E27FC236}">
                <a16:creationId xmlns:a16="http://schemas.microsoft.com/office/drawing/2014/main" id="{E68128DA-E42A-4D9C-94CE-C1D44062B5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4252" y="3664589"/>
            <a:ext cx="3357751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vorname.nachname@bblaw.com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9B7C2E97-D2D0-46B4-931F-3DB4D2FF5C12}"/>
              </a:ext>
            </a:extLst>
          </p:cNvPr>
          <p:cNvSpPr/>
          <p:nvPr userDrawn="1"/>
        </p:nvSpPr>
        <p:spPr>
          <a:xfrm>
            <a:off x="7836001" y="3664589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E</a:t>
            </a:r>
          </a:p>
        </p:txBody>
      </p:sp>
      <p:sp>
        <p:nvSpPr>
          <p:cNvPr id="46" name="Textplatzhalter 15">
            <a:extLst>
              <a:ext uri="{FF2B5EF4-FFF2-40B4-BE49-F238E27FC236}">
                <a16:creationId xmlns:a16="http://schemas.microsoft.com/office/drawing/2014/main" id="{95683C92-07E1-4548-9373-5AAE3DB6AEF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836001" y="4293638"/>
            <a:ext cx="3636000" cy="1259997"/>
          </a:xfrm>
        </p:spPr>
        <p:txBody>
          <a:bodyPr wrap="square" tIns="0">
            <a:noAutofit/>
          </a:bodyPr>
          <a:lstStyle>
            <a:lvl1pPr marL="171446" indent="-171446" algn="l">
              <a:lnSpc>
                <a:spcPts val="1600"/>
              </a:lnSpc>
              <a:spcAft>
                <a:spcPts val="0"/>
              </a:spcAft>
              <a:buClr>
                <a:srgbClr val="00899C"/>
              </a:buClr>
              <a:buFont typeface="Wingdings" panose="05000000000000000000" pitchFamily="2" charset="2"/>
              <a:buChar char="§"/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Spezialisierung eingeben</a:t>
            </a:r>
          </a:p>
        </p:txBody>
      </p:sp>
      <p:sp>
        <p:nvSpPr>
          <p:cNvPr id="52" name="Textplatzhalter 15">
            <a:extLst>
              <a:ext uri="{FF2B5EF4-FFF2-40B4-BE49-F238E27FC236}">
                <a16:creationId xmlns:a16="http://schemas.microsoft.com/office/drawing/2014/main" id="{6C099A96-E9CE-460B-B59E-CD1AD09BAAD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836001" y="5970186"/>
            <a:ext cx="3636000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Sprachen eingeben</a:t>
            </a:r>
          </a:p>
        </p:txBody>
      </p: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A7F6EB79-B11C-425E-8AA5-8ECA3B61134A}"/>
              </a:ext>
            </a:extLst>
          </p:cNvPr>
          <p:cNvCxnSpPr/>
          <p:nvPr userDrawn="1"/>
        </p:nvCxnSpPr>
        <p:spPr>
          <a:xfrm>
            <a:off x="7836004" y="3970115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5038D851-E937-40AF-AF4C-F3E50DEAD46E}"/>
              </a:ext>
            </a:extLst>
          </p:cNvPr>
          <p:cNvCxnSpPr/>
          <p:nvPr userDrawn="1"/>
        </p:nvCxnSpPr>
        <p:spPr>
          <a:xfrm>
            <a:off x="7836004" y="5641587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2EC7159-F8F3-4048-931D-C8DB2C0F10C9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77202" y="720000"/>
            <a:ext cx="5194784" cy="792000"/>
          </a:xfrm>
        </p:spPr>
        <p:txBody>
          <a:bodyPr vert="horz" wrap="square" lIns="0" tIns="0" rIns="0" bIns="0" rtlCol="0" anchor="t">
            <a:noAutofit/>
          </a:bodyPr>
          <a:lstStyle>
            <a:lvl1pPr algn="l">
              <a:defRPr lang="de-DE" sz="2400" cap="all" spc="60" dirty="0">
                <a:ea typeface="+mj-ea"/>
                <a:cs typeface="+mj-cs"/>
              </a:defRPr>
            </a:lvl1pPr>
          </a:lstStyle>
          <a:p>
            <a:pPr lvl="0" algn="l">
              <a:lnSpc>
                <a:spcPts val="3100"/>
              </a:lnSpc>
              <a:spcBef>
                <a:spcPct val="0"/>
              </a:spcBef>
              <a:tabLst>
                <a:tab pos="444489" algn="l"/>
              </a:tabLst>
            </a:pPr>
            <a:r>
              <a:rPr lang="de-DE"/>
              <a:t>Textmasterformat bearbeiten</a:t>
            </a:r>
          </a:p>
        </p:txBody>
      </p:sp>
      <p:sp>
        <p:nvSpPr>
          <p:cNvPr id="60" name="Textplatzhalter 15">
            <a:extLst>
              <a:ext uri="{FF2B5EF4-FFF2-40B4-BE49-F238E27FC236}">
                <a16:creationId xmlns:a16="http://schemas.microsoft.com/office/drawing/2014/main" id="{9284B8AD-B901-4B84-BA90-3DA673DDC7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77955" y="5970186"/>
            <a:ext cx="3636000" cy="143998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58" algn="l"/>
              </a:tabLst>
              <a:defRPr sz="900"/>
            </a:lvl2pPr>
            <a:lvl3pPr>
              <a:lnSpc>
                <a:spcPts val="1200"/>
              </a:lnSpc>
              <a:tabLst>
                <a:tab pos="182558" algn="l"/>
              </a:tabLst>
              <a:defRPr sz="900"/>
            </a:lvl3pPr>
            <a:lvl4pPr>
              <a:lnSpc>
                <a:spcPts val="1200"/>
              </a:lnSpc>
              <a:tabLst>
                <a:tab pos="182558" algn="l"/>
              </a:tabLst>
              <a:defRPr sz="900"/>
            </a:lvl4pPr>
            <a:lvl5pPr>
              <a:lnSpc>
                <a:spcPts val="1200"/>
              </a:lnSpc>
              <a:tabLst>
                <a:tab pos="182558" algn="l"/>
              </a:tabLst>
              <a:defRPr sz="900"/>
            </a:lvl5pPr>
          </a:lstStyle>
          <a:p>
            <a:pPr lvl="0"/>
            <a:r>
              <a:rPr lang="de-DE" dirty="0"/>
              <a:t>Sprachen eingeben</a:t>
            </a:r>
          </a:p>
        </p:txBody>
      </p: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F0E8DD84-DF77-440C-9F27-2A062AD1EDAE}"/>
              </a:ext>
            </a:extLst>
          </p:cNvPr>
          <p:cNvCxnSpPr/>
          <p:nvPr userDrawn="1"/>
        </p:nvCxnSpPr>
        <p:spPr>
          <a:xfrm>
            <a:off x="2278799" y="5641587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hteck 55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2277954" y="4089104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Spezialgebiete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7836001" y="4090802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Spezialgebiete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2277954" y="5767723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899C"/>
                </a:solidFill>
              </a:rPr>
              <a:t>Sprachen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7836001" y="5767723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377">
              <a:lnSpc>
                <a:spcPts val="1600"/>
              </a:lnSpc>
              <a:spcAft>
                <a:spcPts val="600"/>
              </a:spcAft>
              <a:tabLst>
                <a:tab pos="182558" algn="l"/>
              </a:tabLst>
            </a:pPr>
            <a:r>
              <a:rPr lang="de-DE" sz="1100" b="1" dirty="0">
                <a:solidFill>
                  <a:srgbClr val="00899C"/>
                </a:solidFill>
              </a:rPr>
              <a:t>Sprachen</a:t>
            </a:r>
          </a:p>
        </p:txBody>
      </p:sp>
      <p:pic>
        <p:nvPicPr>
          <p:cNvPr id="7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0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1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4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6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5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0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44375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nzleiüberblick ein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13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1" y="2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>
              <a:lnSpc>
                <a:spcPts val="2200"/>
              </a:lnSpc>
            </a:pPr>
            <a:endParaRPr lang="de-DE" sz="2400" b="1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585074" y="2"/>
            <a:ext cx="4606926" cy="6857999"/>
          </a:xfrm>
          <a:solidFill>
            <a:schemeClr val="bg2"/>
          </a:solidFill>
        </p:spPr>
        <p:txBody>
          <a:bodyPr tIns="0" bIns="935977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17C61F-8D2B-4B28-AC3B-49847D206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720000"/>
            <a:ext cx="5507764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D6FEAB31-C8DB-407E-8E7B-D21BC3BFA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0000" y="1656001"/>
            <a:ext cx="5507764" cy="41352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1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BEITEN BURKHARDT | 28/05/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6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rgbClr val="003E77"/>
                </a:solidFill>
              </a:rPr>
              <a:t>| Title of Presentation OR Event</a:t>
            </a:r>
            <a:endParaRPr lang="de-DE" dirty="0">
              <a:solidFill>
                <a:srgbClr val="003E77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0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6" y="5731828"/>
            <a:ext cx="1259633" cy="1129004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6" y="319089"/>
            <a:ext cx="1308100" cy="314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73689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tionale Strategie_ein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720000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E7F38DB-160E-4457-9A09-47BC361978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00" y="2609837"/>
            <a:ext cx="2864577" cy="1466865"/>
          </a:xfrm>
        </p:spPr>
        <p:txBody>
          <a:bodyPr tIns="0"/>
          <a:lstStyle>
            <a:lvl1pPr algn="l">
              <a:defRPr sz="7100"/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55793B-72DF-46FB-BD0D-7ACA802175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9425" y="3613151"/>
            <a:ext cx="2863991" cy="2282825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 marL="354004" indent="-176209">
              <a:buClr>
                <a:schemeClr val="accent4"/>
              </a:buClr>
              <a:buFont typeface="Wingdings" panose="05000000000000000000" pitchFamily="2" charset="2"/>
              <a:buChar char="§"/>
              <a:defRPr sz="1500"/>
            </a:lvl4pPr>
            <a:lvl5pPr marL="354004" indent="-269868">
              <a:defRPr sz="15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83CB1899-849D-4DA3-B596-8968912A29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63705" y="2609837"/>
            <a:ext cx="2864577" cy="1466865"/>
          </a:xfrm>
        </p:spPr>
        <p:txBody>
          <a:bodyPr tIns="0"/>
          <a:lstStyle>
            <a:lvl1pPr algn="l">
              <a:defRPr sz="71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B53AB505-F2BA-4167-80DC-A88F00FEC91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63705" y="3613151"/>
            <a:ext cx="2863991" cy="2282825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 marL="354004" indent="-176209">
              <a:buClr>
                <a:schemeClr val="accent4"/>
              </a:buClr>
              <a:buFont typeface="Wingdings" panose="05000000000000000000" pitchFamily="2" charset="2"/>
              <a:buChar char="§"/>
              <a:defRPr sz="1500"/>
            </a:lvl4pPr>
            <a:lvl5pPr marL="354004" indent="-269868">
              <a:defRPr sz="15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47CF6758-5BFF-4FAB-BFEB-642AE33CBF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07410" y="2609837"/>
            <a:ext cx="2864577" cy="1466865"/>
          </a:xfrm>
        </p:spPr>
        <p:txBody>
          <a:bodyPr tIns="0"/>
          <a:lstStyle>
            <a:lvl1pPr algn="l">
              <a:defRPr sz="71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28086083-D834-4197-BDEC-9C1F4476D99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607996" y="3613151"/>
            <a:ext cx="2863991" cy="2282825"/>
          </a:xfr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 marL="354004" indent="-176209">
              <a:buClr>
                <a:schemeClr val="accent4"/>
              </a:buClr>
              <a:buFont typeface="Wingdings" panose="05000000000000000000" pitchFamily="2" charset="2"/>
              <a:buChar char="§"/>
              <a:defRPr sz="1500"/>
            </a:lvl4pPr>
            <a:lvl5pPr marL="354004" indent="-260344">
              <a:defRPr sz="15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1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BEITEN BURKHARDT | 28/05/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6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rgbClr val="003E77"/>
                </a:solidFill>
              </a:rPr>
              <a:t>| Title of Presentation OR Event</a:t>
            </a:r>
            <a:endParaRPr lang="de-DE" dirty="0">
              <a:solidFill>
                <a:srgbClr val="003E77"/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0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0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sz="quarter" idx="24"/>
          </p:nvPr>
        </p:nvSpPr>
        <p:spPr>
          <a:xfrm>
            <a:off x="723902" y="1724026"/>
            <a:ext cx="10755313" cy="8763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001530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bales Netzwerk_ein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0" y="1655999"/>
            <a:ext cx="5194784" cy="414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35ACC148-410C-4F10-8110-9462A4FDE40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92918" y="1655999"/>
            <a:ext cx="5194784" cy="414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1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BEITEN BURKHARDT | 28/05/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6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rgbClr val="003E77"/>
                </a:solidFill>
              </a:rPr>
              <a:t>| Title of Presentation OR Event</a:t>
            </a:r>
            <a:endParaRPr lang="de-DE" dirty="0">
              <a:solidFill>
                <a:srgbClr val="003E77"/>
              </a:solidFill>
            </a:endParaRP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0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0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403915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ort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E4D72C8-8334-4C32-BCBC-D405EE84DB10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defTabSz="457189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0000" y="720000"/>
            <a:ext cx="10751987" cy="79200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e Standort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7BA4690-8A97-4744-8009-CC185E1981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801FC98-A3D8-45C1-8E79-A0AF72AA5A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86E9BDB6-EFB2-449E-BAA5-F7E864ECD6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C2613F-F17E-478E-8D88-D545B0EFC7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8696" y="1764369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2A0D8B37-A108-4D18-9124-C3677520884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8694" y="1926736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6F80746F-026C-45AE-9681-251395FA44E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8696" y="2089105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1B0C9964-697C-4703-BD9C-54FB04BADC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696" y="2251472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167B3649-5E08-4DCB-80FE-40A0764FEB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8695" y="2413841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0DD34ECA-CAC5-41EE-A095-FD3837277F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8695" y="2413841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FDAF70A9-B2F7-4A05-BA3F-F678949171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8695" y="2576209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85F099B3-B4CB-4D3D-8507-E7FB1FDD09D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8695" y="2576209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21DB88AF-319D-4157-B1AE-9CDCC9F48C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8695" y="2738579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741015C2-025F-49BA-A050-C5307833D57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8695" y="2738579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A6DE70F5-86D5-4DAA-9C92-66BF03C9EE1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18696" y="3233981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BFCF71A-B646-4692-9092-239926DC596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18694" y="3396348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160CE1DC-A1F1-44AB-A8DC-72B0DF720DF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18696" y="3558716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D6B6A795-0A2D-4FE9-A0A1-79826E38F2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8696" y="3721085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E90258CF-659E-45BC-A22B-5EBBAA4BE1E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695" y="388345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63FB24F-0BA4-4991-A19F-0964E1A0477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8695" y="388345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CB474BA4-126C-4150-AE79-0371CB610A7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8695" y="4045821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40" name="Textplatzhalter 3">
            <a:extLst>
              <a:ext uri="{FF2B5EF4-FFF2-40B4-BE49-F238E27FC236}">
                <a16:creationId xmlns:a16="http://schemas.microsoft.com/office/drawing/2014/main" id="{8B73A060-C282-4A1B-9E3F-4BF023F0E14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8695" y="4045821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0ED4068E-4673-4A36-8027-BA2E8FD5B02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18695" y="4208191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42" name="Textplatzhalter 3">
            <a:extLst>
              <a:ext uri="{FF2B5EF4-FFF2-40B4-BE49-F238E27FC236}">
                <a16:creationId xmlns:a16="http://schemas.microsoft.com/office/drawing/2014/main" id="{BFDDE18F-0475-4A02-9EEA-7816947D5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98695" y="4208191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43" name="Textplatzhalter 3">
            <a:extLst>
              <a:ext uri="{FF2B5EF4-FFF2-40B4-BE49-F238E27FC236}">
                <a16:creationId xmlns:a16="http://schemas.microsoft.com/office/drawing/2014/main" id="{D0C6F64A-103E-4289-B654-9FAE0935046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18696" y="4701315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55214579-8B39-46B4-B918-EE0316CE8B6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18694" y="4863683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5" name="Textplatzhalter 3">
            <a:extLst>
              <a:ext uri="{FF2B5EF4-FFF2-40B4-BE49-F238E27FC236}">
                <a16:creationId xmlns:a16="http://schemas.microsoft.com/office/drawing/2014/main" id="{B7EE0A87-34A2-4330-8BEB-59B305248B8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8696" y="5026051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46" name="Textplatzhalter 3">
            <a:extLst>
              <a:ext uri="{FF2B5EF4-FFF2-40B4-BE49-F238E27FC236}">
                <a16:creationId xmlns:a16="http://schemas.microsoft.com/office/drawing/2014/main" id="{A361E03D-D046-4EDA-AC2C-55D0AC09087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8696" y="5188419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47" name="Textplatzhalter 3">
            <a:extLst>
              <a:ext uri="{FF2B5EF4-FFF2-40B4-BE49-F238E27FC236}">
                <a16:creationId xmlns:a16="http://schemas.microsoft.com/office/drawing/2014/main" id="{683FE138-90A1-46F8-9BE9-80543F9B42B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8695" y="5350787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48" name="Textplatzhalter 3">
            <a:extLst>
              <a:ext uri="{FF2B5EF4-FFF2-40B4-BE49-F238E27FC236}">
                <a16:creationId xmlns:a16="http://schemas.microsoft.com/office/drawing/2014/main" id="{58426354-BC02-4652-8675-2B0FDFB31D3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98695" y="5350787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49" name="Textplatzhalter 3">
            <a:extLst>
              <a:ext uri="{FF2B5EF4-FFF2-40B4-BE49-F238E27FC236}">
                <a16:creationId xmlns:a16="http://schemas.microsoft.com/office/drawing/2014/main" id="{3E6D7105-6DC5-40E3-930E-64F82A227CF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18695" y="5513155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50" name="Textplatzhalter 3">
            <a:extLst>
              <a:ext uri="{FF2B5EF4-FFF2-40B4-BE49-F238E27FC236}">
                <a16:creationId xmlns:a16="http://schemas.microsoft.com/office/drawing/2014/main" id="{99ABCF8A-5288-4AD2-AD05-F2DCD7B3144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98695" y="5513155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51" name="Textplatzhalter 3">
            <a:extLst>
              <a:ext uri="{FF2B5EF4-FFF2-40B4-BE49-F238E27FC236}">
                <a16:creationId xmlns:a16="http://schemas.microsoft.com/office/drawing/2014/main" id="{D439FC10-6D27-414C-842D-CD8DC74874E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18695" y="5675526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8D78D848-CFB5-4FEA-8392-0D99AC7358E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98695" y="5675526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55" name="Textplatzhalter 3">
            <a:extLst>
              <a:ext uri="{FF2B5EF4-FFF2-40B4-BE49-F238E27FC236}">
                <a16:creationId xmlns:a16="http://schemas.microsoft.com/office/drawing/2014/main" id="{6BCD8115-B35C-4642-877B-1EA74F941E68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499578" y="1764369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6" name="Textplatzhalter 3">
            <a:extLst>
              <a:ext uri="{FF2B5EF4-FFF2-40B4-BE49-F238E27FC236}">
                <a16:creationId xmlns:a16="http://schemas.microsoft.com/office/drawing/2014/main" id="{51EB63BA-B8AF-4BD3-91C9-FE08952B58A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3499578" y="1926736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7" name="Textplatzhalter 3">
            <a:extLst>
              <a:ext uri="{FF2B5EF4-FFF2-40B4-BE49-F238E27FC236}">
                <a16:creationId xmlns:a16="http://schemas.microsoft.com/office/drawing/2014/main" id="{A45705C6-C0D4-4C03-8F51-87D077B1C73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499578" y="2089105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58" name="Textplatzhalter 3">
            <a:extLst>
              <a:ext uri="{FF2B5EF4-FFF2-40B4-BE49-F238E27FC236}">
                <a16:creationId xmlns:a16="http://schemas.microsoft.com/office/drawing/2014/main" id="{CF007182-2558-4C0F-A653-0D002CCAFE8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499578" y="2251472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FDE80862-037E-4FED-B9B7-E6C4227C0D9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499578" y="2413841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60" name="Textplatzhalter 3">
            <a:extLst>
              <a:ext uri="{FF2B5EF4-FFF2-40B4-BE49-F238E27FC236}">
                <a16:creationId xmlns:a16="http://schemas.microsoft.com/office/drawing/2014/main" id="{C435A29A-8E54-4E7A-95D9-9D7B5983F5D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679578" y="2413841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8F356C87-27E3-467E-8BD0-4CA34109E18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499578" y="2576209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31820810-7A4C-43E9-8E71-D25C484B2B5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679578" y="2576209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63" name="Textplatzhalter 3">
            <a:extLst>
              <a:ext uri="{FF2B5EF4-FFF2-40B4-BE49-F238E27FC236}">
                <a16:creationId xmlns:a16="http://schemas.microsoft.com/office/drawing/2014/main" id="{37A7875D-B621-40BF-873E-E159CABB289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499578" y="2738579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64" name="Textplatzhalter 3">
            <a:extLst>
              <a:ext uri="{FF2B5EF4-FFF2-40B4-BE49-F238E27FC236}">
                <a16:creationId xmlns:a16="http://schemas.microsoft.com/office/drawing/2014/main" id="{23959D29-433A-49C0-AB72-E4727DBFCB4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679578" y="2738579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65" name="Textplatzhalter 3">
            <a:extLst>
              <a:ext uri="{FF2B5EF4-FFF2-40B4-BE49-F238E27FC236}">
                <a16:creationId xmlns:a16="http://schemas.microsoft.com/office/drawing/2014/main" id="{91C6D2C8-8B64-44D2-8F3F-CE2F988F9925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499578" y="3233981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6" name="Textplatzhalter 3">
            <a:extLst>
              <a:ext uri="{FF2B5EF4-FFF2-40B4-BE49-F238E27FC236}">
                <a16:creationId xmlns:a16="http://schemas.microsoft.com/office/drawing/2014/main" id="{4984F027-DE14-4D26-92F8-F3BB0E8C855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3499578" y="3396348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7" name="Textplatzhalter 3">
            <a:extLst>
              <a:ext uri="{FF2B5EF4-FFF2-40B4-BE49-F238E27FC236}">
                <a16:creationId xmlns:a16="http://schemas.microsoft.com/office/drawing/2014/main" id="{3F7F04CD-F9AA-4404-A30C-875D4ECFD20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499578" y="3558716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68" name="Textplatzhalter 3">
            <a:extLst>
              <a:ext uri="{FF2B5EF4-FFF2-40B4-BE49-F238E27FC236}">
                <a16:creationId xmlns:a16="http://schemas.microsoft.com/office/drawing/2014/main" id="{120A070E-F8A7-4BEB-8063-A77D2927F0A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499578" y="3721085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69" name="Textplatzhalter 3">
            <a:extLst>
              <a:ext uri="{FF2B5EF4-FFF2-40B4-BE49-F238E27FC236}">
                <a16:creationId xmlns:a16="http://schemas.microsoft.com/office/drawing/2014/main" id="{2AC0CE3C-3A13-4025-9FED-6D1B32FD717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499578" y="388345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70" name="Textplatzhalter 3">
            <a:extLst>
              <a:ext uri="{FF2B5EF4-FFF2-40B4-BE49-F238E27FC236}">
                <a16:creationId xmlns:a16="http://schemas.microsoft.com/office/drawing/2014/main" id="{2FD2A7D3-4CF4-412B-98B3-370970B48CB2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679578" y="388345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944BD036-02A9-467E-B286-BF683621619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499578" y="4045821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981C4525-F40F-4DB2-8516-0E0594B6E1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679578" y="4045821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73" name="Textplatzhalter 3">
            <a:extLst>
              <a:ext uri="{FF2B5EF4-FFF2-40B4-BE49-F238E27FC236}">
                <a16:creationId xmlns:a16="http://schemas.microsoft.com/office/drawing/2014/main" id="{944015EA-D993-4E24-8B94-BB3C423A3F2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499578" y="4208191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74" name="Textplatzhalter 3">
            <a:extLst>
              <a:ext uri="{FF2B5EF4-FFF2-40B4-BE49-F238E27FC236}">
                <a16:creationId xmlns:a16="http://schemas.microsoft.com/office/drawing/2014/main" id="{61975492-6C11-4431-9BD8-C4D936F22AA6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679578" y="4208191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75" name="Textplatzhalter 3">
            <a:extLst>
              <a:ext uri="{FF2B5EF4-FFF2-40B4-BE49-F238E27FC236}">
                <a16:creationId xmlns:a16="http://schemas.microsoft.com/office/drawing/2014/main" id="{5F13C928-91B2-4D0C-8483-C6F48514D976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6280462" y="1764369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6" name="Textplatzhalter 3">
            <a:extLst>
              <a:ext uri="{FF2B5EF4-FFF2-40B4-BE49-F238E27FC236}">
                <a16:creationId xmlns:a16="http://schemas.microsoft.com/office/drawing/2014/main" id="{8119FD9A-D6F4-4205-8088-1215C43042BA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6280460" y="1926736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7" name="Textplatzhalter 3">
            <a:extLst>
              <a:ext uri="{FF2B5EF4-FFF2-40B4-BE49-F238E27FC236}">
                <a16:creationId xmlns:a16="http://schemas.microsoft.com/office/drawing/2014/main" id="{3385911E-D95E-47A1-AA93-D97CF5E60F0E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80462" y="2089105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78" name="Textplatzhalter 3">
            <a:extLst>
              <a:ext uri="{FF2B5EF4-FFF2-40B4-BE49-F238E27FC236}">
                <a16:creationId xmlns:a16="http://schemas.microsoft.com/office/drawing/2014/main" id="{D42F793A-F270-4C55-A74D-FD6167C120C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280462" y="2251472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79" name="Textplatzhalter 3">
            <a:extLst>
              <a:ext uri="{FF2B5EF4-FFF2-40B4-BE49-F238E27FC236}">
                <a16:creationId xmlns:a16="http://schemas.microsoft.com/office/drawing/2014/main" id="{ED014D67-D4FB-4476-ADCA-2DC3E89831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80460" y="2413841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80" name="Textplatzhalter 3">
            <a:extLst>
              <a:ext uri="{FF2B5EF4-FFF2-40B4-BE49-F238E27FC236}">
                <a16:creationId xmlns:a16="http://schemas.microsoft.com/office/drawing/2014/main" id="{FECCC8EC-66B3-432D-B93D-C924181DC1C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460462" y="2413841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81" name="Textplatzhalter 3">
            <a:extLst>
              <a:ext uri="{FF2B5EF4-FFF2-40B4-BE49-F238E27FC236}">
                <a16:creationId xmlns:a16="http://schemas.microsoft.com/office/drawing/2014/main" id="{750A49D2-A114-4ADF-A5CC-3D82AAEFF97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280460" y="2576209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82" name="Textplatzhalter 3">
            <a:extLst>
              <a:ext uri="{FF2B5EF4-FFF2-40B4-BE49-F238E27FC236}">
                <a16:creationId xmlns:a16="http://schemas.microsoft.com/office/drawing/2014/main" id="{4B7ECDE8-4B43-48A7-8807-050DFBC32F4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460462" y="2576209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83" name="Textplatzhalter 3">
            <a:extLst>
              <a:ext uri="{FF2B5EF4-FFF2-40B4-BE49-F238E27FC236}">
                <a16:creationId xmlns:a16="http://schemas.microsoft.com/office/drawing/2014/main" id="{99DE85E7-A032-40B4-878B-C3CE61A8CA6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280460" y="2738579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84" name="Textplatzhalter 3">
            <a:extLst>
              <a:ext uri="{FF2B5EF4-FFF2-40B4-BE49-F238E27FC236}">
                <a16:creationId xmlns:a16="http://schemas.microsoft.com/office/drawing/2014/main" id="{F96DE20B-4923-4738-A208-8941C2E591EE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460462" y="2738579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85" name="Textplatzhalter 3">
            <a:extLst>
              <a:ext uri="{FF2B5EF4-FFF2-40B4-BE49-F238E27FC236}">
                <a16:creationId xmlns:a16="http://schemas.microsoft.com/office/drawing/2014/main" id="{D37437D5-CFBE-4B60-9D8F-6D6D0FF1BD8B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6280462" y="3233981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6" name="Textplatzhalter 3">
            <a:extLst>
              <a:ext uri="{FF2B5EF4-FFF2-40B4-BE49-F238E27FC236}">
                <a16:creationId xmlns:a16="http://schemas.microsoft.com/office/drawing/2014/main" id="{6FB91E31-6F7C-43D2-B123-BBD53D337ECF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6280460" y="3396348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7" name="Textplatzhalter 3">
            <a:extLst>
              <a:ext uri="{FF2B5EF4-FFF2-40B4-BE49-F238E27FC236}">
                <a16:creationId xmlns:a16="http://schemas.microsoft.com/office/drawing/2014/main" id="{27BC558D-7AFB-4C5F-BB10-452C74DC59C0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80462" y="3558716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88" name="Textplatzhalter 3">
            <a:extLst>
              <a:ext uri="{FF2B5EF4-FFF2-40B4-BE49-F238E27FC236}">
                <a16:creationId xmlns:a16="http://schemas.microsoft.com/office/drawing/2014/main" id="{593AAA8F-9725-41AB-983F-078DBAFA211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6280462" y="3721085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89" name="Textplatzhalter 3">
            <a:extLst>
              <a:ext uri="{FF2B5EF4-FFF2-40B4-BE49-F238E27FC236}">
                <a16:creationId xmlns:a16="http://schemas.microsoft.com/office/drawing/2014/main" id="{04C56A35-8E41-4EBA-9942-F93B868D8027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6280460" y="388345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90" name="Textplatzhalter 3">
            <a:extLst>
              <a:ext uri="{FF2B5EF4-FFF2-40B4-BE49-F238E27FC236}">
                <a16:creationId xmlns:a16="http://schemas.microsoft.com/office/drawing/2014/main" id="{2DBBC373-D2BD-4703-A0F5-C3B6033E2B80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6460462" y="388345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91" name="Textplatzhalter 3">
            <a:extLst>
              <a:ext uri="{FF2B5EF4-FFF2-40B4-BE49-F238E27FC236}">
                <a16:creationId xmlns:a16="http://schemas.microsoft.com/office/drawing/2014/main" id="{50F7672D-4307-498C-A4AE-DDEDFC56637A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6280460" y="4045821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92" name="Textplatzhalter 3">
            <a:extLst>
              <a:ext uri="{FF2B5EF4-FFF2-40B4-BE49-F238E27FC236}">
                <a16:creationId xmlns:a16="http://schemas.microsoft.com/office/drawing/2014/main" id="{8A5E011D-A0CB-4F63-A29D-619128D49D9E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460462" y="4045821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93" name="Textplatzhalter 3">
            <a:extLst>
              <a:ext uri="{FF2B5EF4-FFF2-40B4-BE49-F238E27FC236}">
                <a16:creationId xmlns:a16="http://schemas.microsoft.com/office/drawing/2014/main" id="{A588262D-57E2-4EDF-ADB0-E4B8ED83E546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280460" y="4208191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94" name="Textplatzhalter 3">
            <a:extLst>
              <a:ext uri="{FF2B5EF4-FFF2-40B4-BE49-F238E27FC236}">
                <a16:creationId xmlns:a16="http://schemas.microsoft.com/office/drawing/2014/main" id="{3B4B16B3-923A-429C-93E8-4DF1FAD0AF22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460462" y="4208191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95" name="Textplatzhalter 3">
            <a:extLst>
              <a:ext uri="{FF2B5EF4-FFF2-40B4-BE49-F238E27FC236}">
                <a16:creationId xmlns:a16="http://schemas.microsoft.com/office/drawing/2014/main" id="{4759891F-916C-4A9A-9958-A6C983E80198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>
          <a:xfrm>
            <a:off x="6280462" y="4701315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6" name="Textplatzhalter 3">
            <a:extLst>
              <a:ext uri="{FF2B5EF4-FFF2-40B4-BE49-F238E27FC236}">
                <a16:creationId xmlns:a16="http://schemas.microsoft.com/office/drawing/2014/main" id="{543179A2-7CB4-4643-B113-7C86B5BFD014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6280460" y="4863683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7" name="Textplatzhalter 3">
            <a:extLst>
              <a:ext uri="{FF2B5EF4-FFF2-40B4-BE49-F238E27FC236}">
                <a16:creationId xmlns:a16="http://schemas.microsoft.com/office/drawing/2014/main" id="{8E3AAB19-50B9-4BA5-ACBF-1B7F8AA4B2CC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6280462" y="5026051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98" name="Textplatzhalter 3">
            <a:extLst>
              <a:ext uri="{FF2B5EF4-FFF2-40B4-BE49-F238E27FC236}">
                <a16:creationId xmlns:a16="http://schemas.microsoft.com/office/drawing/2014/main" id="{C59D6CED-2EE8-44F1-B302-473D05371992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280462" y="5188420"/>
            <a:ext cx="2413247" cy="270366"/>
          </a:xfrm>
        </p:spPr>
        <p:txBody>
          <a:bodyPr tIns="0" anchor="t"/>
          <a:lstStyle>
            <a:lvl1pPr algn="l">
              <a:spcAft>
                <a:spcPts val="300"/>
              </a:spcAft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</a:t>
            </a:r>
          </a:p>
          <a:p>
            <a:pPr lvl="0"/>
            <a:r>
              <a:rPr lang="de-DE" dirty="0"/>
              <a:t>Stadt</a:t>
            </a:r>
          </a:p>
        </p:txBody>
      </p:sp>
      <p:sp>
        <p:nvSpPr>
          <p:cNvPr id="99" name="Textplatzhalter 3">
            <a:extLst>
              <a:ext uri="{FF2B5EF4-FFF2-40B4-BE49-F238E27FC236}">
                <a16:creationId xmlns:a16="http://schemas.microsoft.com/office/drawing/2014/main" id="{B5C44FEC-2A80-4496-BF78-55BBE2FB34EF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6280460" y="5544510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100" name="Textplatzhalter 3">
            <a:extLst>
              <a:ext uri="{FF2B5EF4-FFF2-40B4-BE49-F238E27FC236}">
                <a16:creationId xmlns:a16="http://schemas.microsoft.com/office/drawing/2014/main" id="{1BA37DE2-A9F1-4C75-AEA0-D699B6D61F8B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6460462" y="5544510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101" name="Textplatzhalter 3">
            <a:extLst>
              <a:ext uri="{FF2B5EF4-FFF2-40B4-BE49-F238E27FC236}">
                <a16:creationId xmlns:a16="http://schemas.microsoft.com/office/drawing/2014/main" id="{64B10AB4-90D4-4B4F-8A18-B86711E8EEE8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80460" y="5706878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102" name="Textplatzhalter 3">
            <a:extLst>
              <a:ext uri="{FF2B5EF4-FFF2-40B4-BE49-F238E27FC236}">
                <a16:creationId xmlns:a16="http://schemas.microsoft.com/office/drawing/2014/main" id="{7B472425-3676-460A-A403-A2BDBE3CF0D9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6460462" y="5706878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103" name="Textplatzhalter 3">
            <a:extLst>
              <a:ext uri="{FF2B5EF4-FFF2-40B4-BE49-F238E27FC236}">
                <a16:creationId xmlns:a16="http://schemas.microsoft.com/office/drawing/2014/main" id="{74B3BBFB-CE6C-40A6-94CE-53479CA487EC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6280460" y="5869247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104" name="Textplatzhalter 3">
            <a:extLst>
              <a:ext uri="{FF2B5EF4-FFF2-40B4-BE49-F238E27FC236}">
                <a16:creationId xmlns:a16="http://schemas.microsoft.com/office/drawing/2014/main" id="{7EC583B9-EF1E-4180-A1FE-117B1EC1AA0C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6460462" y="5869247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105" name="Textplatzhalter 3">
            <a:extLst>
              <a:ext uri="{FF2B5EF4-FFF2-40B4-BE49-F238E27FC236}">
                <a16:creationId xmlns:a16="http://schemas.microsoft.com/office/drawing/2014/main" id="{CD419293-1950-473F-99E2-B47B49F5474F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>
          <a:xfrm>
            <a:off x="9059619" y="1764369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6" name="Textplatzhalter 3">
            <a:extLst>
              <a:ext uri="{FF2B5EF4-FFF2-40B4-BE49-F238E27FC236}">
                <a16:creationId xmlns:a16="http://schemas.microsoft.com/office/drawing/2014/main" id="{1A60B90A-BFA3-4E37-8598-0678D2AD2BB1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>
          <a:xfrm>
            <a:off x="9059616" y="1926736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7" name="Textplatzhalter 3">
            <a:extLst>
              <a:ext uri="{FF2B5EF4-FFF2-40B4-BE49-F238E27FC236}">
                <a16:creationId xmlns:a16="http://schemas.microsoft.com/office/drawing/2014/main" id="{71473230-FCE4-488E-809E-F759B7EF8859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9059619" y="2086615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08" name="Textplatzhalter 3">
            <a:extLst>
              <a:ext uri="{FF2B5EF4-FFF2-40B4-BE49-F238E27FC236}">
                <a16:creationId xmlns:a16="http://schemas.microsoft.com/office/drawing/2014/main" id="{B8ED6208-53D5-4F0E-B95B-298A0E03134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9059619" y="2248983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09" name="Textplatzhalter 3">
            <a:extLst>
              <a:ext uri="{FF2B5EF4-FFF2-40B4-BE49-F238E27FC236}">
                <a16:creationId xmlns:a16="http://schemas.microsoft.com/office/drawing/2014/main" id="{5EF8315B-955E-4A94-8878-BC46B370433E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059617" y="2896247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110" name="Textplatzhalter 3">
            <a:extLst>
              <a:ext uri="{FF2B5EF4-FFF2-40B4-BE49-F238E27FC236}">
                <a16:creationId xmlns:a16="http://schemas.microsoft.com/office/drawing/2014/main" id="{6646E3E4-BFB3-4ED5-94B4-D3E6EF77210B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239617" y="2896247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111" name="Textplatzhalter 3">
            <a:extLst>
              <a:ext uri="{FF2B5EF4-FFF2-40B4-BE49-F238E27FC236}">
                <a16:creationId xmlns:a16="http://schemas.microsoft.com/office/drawing/2014/main" id="{402E2723-7BE3-4604-9AA7-9642AEFCA1B9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059617" y="3058615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112" name="Textplatzhalter 3">
            <a:extLst>
              <a:ext uri="{FF2B5EF4-FFF2-40B4-BE49-F238E27FC236}">
                <a16:creationId xmlns:a16="http://schemas.microsoft.com/office/drawing/2014/main" id="{448FE543-A9BF-4B7A-9DDC-AD3C1A0059DE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9239617" y="3058615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113" name="Textplatzhalter 3">
            <a:extLst>
              <a:ext uri="{FF2B5EF4-FFF2-40B4-BE49-F238E27FC236}">
                <a16:creationId xmlns:a16="http://schemas.microsoft.com/office/drawing/2014/main" id="{1AA263BE-533F-4635-A887-8FAA95CF23EC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9059617" y="3220985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114" name="Textplatzhalter 3">
            <a:extLst>
              <a:ext uri="{FF2B5EF4-FFF2-40B4-BE49-F238E27FC236}">
                <a16:creationId xmlns:a16="http://schemas.microsoft.com/office/drawing/2014/main" id="{2C61DCC7-59E4-4524-A2CF-D01EBDC00C92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239617" y="3220985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145" name="Textplatzhalter 3">
            <a:extLst>
              <a:ext uri="{FF2B5EF4-FFF2-40B4-BE49-F238E27FC236}">
                <a16:creationId xmlns:a16="http://schemas.microsoft.com/office/drawing/2014/main" id="{194D5807-C66D-491C-851F-D972B2EE8196}"/>
              </a:ext>
            </a:extLst>
          </p:cNvPr>
          <p:cNvSpPr>
            <a:spLocks noGrp="1"/>
          </p:cNvSpPr>
          <p:nvPr>
            <p:ph type="body" sz="quarter" idx="138" hasCustomPrompt="1"/>
          </p:nvPr>
        </p:nvSpPr>
        <p:spPr>
          <a:xfrm>
            <a:off x="9059619" y="2413841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46" name="Textplatzhalter 3">
            <a:extLst>
              <a:ext uri="{FF2B5EF4-FFF2-40B4-BE49-F238E27FC236}">
                <a16:creationId xmlns:a16="http://schemas.microsoft.com/office/drawing/2014/main" id="{8B787ECD-9C97-402C-A24B-9202BEB9B3F6}"/>
              </a:ext>
            </a:extLst>
          </p:cNvPr>
          <p:cNvSpPr>
            <a:spLocks noGrp="1"/>
          </p:cNvSpPr>
          <p:nvPr>
            <p:ph type="body" sz="quarter" idx="139" hasCustomPrompt="1"/>
          </p:nvPr>
        </p:nvSpPr>
        <p:spPr>
          <a:xfrm>
            <a:off x="9059619" y="2576209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47" name="Textplatzhalter 3">
            <a:extLst>
              <a:ext uri="{FF2B5EF4-FFF2-40B4-BE49-F238E27FC236}">
                <a16:creationId xmlns:a16="http://schemas.microsoft.com/office/drawing/2014/main" id="{35A1E027-6DE6-4AEC-B0AA-B2FF697F775A}"/>
              </a:ext>
            </a:extLst>
          </p:cNvPr>
          <p:cNvSpPr>
            <a:spLocks noGrp="1"/>
          </p:cNvSpPr>
          <p:nvPr>
            <p:ph type="body" sz="quarter" idx="140" hasCustomPrompt="1"/>
          </p:nvPr>
        </p:nvSpPr>
        <p:spPr>
          <a:xfrm>
            <a:off x="9059619" y="2735683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pic>
        <p:nvPicPr>
          <p:cNvPr id="116" name="Grafik 1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6" y="5731828"/>
            <a:ext cx="1259633" cy="1129004"/>
          </a:xfrm>
          <a:prstGeom prst="rect">
            <a:avLst/>
          </a:prstGeom>
        </p:spPr>
      </p:pic>
      <p:pic>
        <p:nvPicPr>
          <p:cNvPr id="117" name="Grafik 1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6" y="319089"/>
            <a:ext cx="1308100" cy="314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9748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1236921D-785A-46CD-AB8A-8D500253F2F5}"/>
              </a:ext>
            </a:extLst>
          </p:cNvPr>
          <p:cNvSpPr/>
          <p:nvPr userDrawn="1"/>
        </p:nvSpPr>
        <p:spPr>
          <a:xfrm>
            <a:off x="717552" y="5944965"/>
            <a:ext cx="4943999" cy="370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457189">
              <a:lnSpc>
                <a:spcPts val="1400"/>
              </a:lnSpc>
            </a:pP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БЕРЛИН</a:t>
            </a:r>
            <a:r>
              <a:rPr lang="en-US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БРЮССЕЛЬ</a:t>
            </a:r>
            <a:r>
              <a:rPr lang="en-US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ГАМБУРГ</a:t>
            </a:r>
            <a:r>
              <a:rPr lang="en-US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ДЮССЕЛЬДОРФ</a:t>
            </a:r>
            <a:r>
              <a:rPr lang="en-US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МОСКВА</a:t>
            </a:r>
            <a:r>
              <a:rPr lang="en-US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МЮНХЕН</a:t>
            </a:r>
            <a:r>
              <a:rPr lang="en-US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 </a:t>
            </a:r>
            <a:endParaRPr lang="ru-RU" sz="900" cap="all" spc="51" dirty="0">
              <a:solidFill>
                <a:srgbClr val="003E77"/>
              </a:solidFill>
              <a:cs typeface="Arial" panose="020B0604020202020204" pitchFamily="34" charset="0"/>
            </a:endParaRPr>
          </a:p>
          <a:p>
            <a:pPr defTabSz="457189">
              <a:lnSpc>
                <a:spcPts val="1400"/>
              </a:lnSpc>
            </a:pP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ПЕКИН</a:t>
            </a:r>
            <a:r>
              <a:rPr lang="en-US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САНКТ-ПЕТЕРБУРГ</a:t>
            </a:r>
            <a:r>
              <a:rPr lang="en-US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1" dirty="0">
                <a:solidFill>
                  <a:srgbClr val="003E77"/>
                </a:solidFill>
                <a:cs typeface="Arial" panose="020B0604020202020204" pitchFamily="34" charset="0"/>
              </a:rPr>
              <a:t>ФРАНКФУРТ-НА-МАЙНЕ</a:t>
            </a:r>
            <a:endParaRPr lang="en-US" sz="900" cap="all" spc="51" dirty="0">
              <a:solidFill>
                <a:srgbClr val="003E77"/>
              </a:solidFill>
              <a:cs typeface="Arial" panose="020B0604020202020204" pitchFamily="34" charset="0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88B46C6-B9CC-46C8-9953-98C0986125B7}"/>
              </a:ext>
            </a:extLst>
          </p:cNvPr>
          <p:cNvSpPr/>
          <p:nvPr userDrawn="1"/>
        </p:nvSpPr>
        <p:spPr>
          <a:xfrm>
            <a:off x="717552" y="6426636"/>
            <a:ext cx="4943999" cy="2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defTabSz="457189">
              <a:lnSpc>
                <a:spcPts val="1400"/>
              </a:lnSpc>
            </a:pPr>
            <a:r>
              <a:rPr lang="de-DE" sz="1200" b="1" cap="all" spc="100" dirty="0">
                <a:solidFill>
                  <a:srgbClr val="003E77"/>
                </a:solidFill>
              </a:rPr>
              <a:t>www.Beitenburkhardt.com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0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05172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AEC09ABE-AD2A-40C7-BE02-8D6A5F763BF0}"/>
              </a:ext>
            </a:extLst>
          </p:cNvPr>
          <p:cNvCxnSpPr/>
          <p:nvPr userDrawn="1"/>
        </p:nvCxnSpPr>
        <p:spPr>
          <a:xfrm>
            <a:off x="719999" y="1764000"/>
            <a:ext cx="134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platzhalter 15">
            <a:extLst>
              <a:ext uri="{FF2B5EF4-FFF2-40B4-BE49-F238E27FC236}">
                <a16:creationId xmlns:a16="http://schemas.microsoft.com/office/drawing/2014/main" id="{0DBE3578-AD7F-4F50-9857-1DD2A84654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78796" y="1857133"/>
            <a:ext cx="4007703" cy="698212"/>
          </a:xfrm>
        </p:spPr>
        <p:txBody>
          <a:bodyPr wrap="square" tIns="0">
            <a:noAutofit/>
          </a:bodyPr>
          <a:lstStyle>
            <a:lvl1pPr algn="l">
              <a:lnSpc>
                <a:spcPct val="100000"/>
              </a:lnSpc>
              <a:spcAft>
                <a:spcPts val="600"/>
              </a:spcAft>
              <a:tabLst>
                <a:tab pos="182563" algn="l"/>
              </a:tabLst>
              <a:defRPr sz="1700" cap="none" spc="0" baseline="0">
                <a:solidFill>
                  <a:schemeClr val="accent4"/>
                </a:solidFill>
              </a:defRPr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Funktion  |  Position  |  auch zweizeilig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BE5019AB-39A6-44C5-863C-C04584D3CE9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9999" y="1908000"/>
            <a:ext cx="1342800" cy="1699200"/>
          </a:xfrm>
          <a:solidFill>
            <a:schemeClr val="bg2"/>
          </a:solidFill>
        </p:spPr>
        <p:txBody>
          <a:bodyPr wrap="square" tIns="0" bIns="540000" anchor="ctr">
            <a:no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Portrait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50FE44F9-87CE-4838-9679-5666042C1ADF}"/>
              </a:ext>
            </a:extLst>
          </p:cNvPr>
          <p:cNvCxnSpPr/>
          <p:nvPr userDrawn="1"/>
        </p:nvCxnSpPr>
        <p:spPr>
          <a:xfrm>
            <a:off x="2278799" y="1764000"/>
            <a:ext cx="40077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59CA4D80-58A8-48AD-8B6A-8F1ECBC0FEA0}"/>
              </a:ext>
            </a:extLst>
          </p:cNvPr>
          <p:cNvCxnSpPr>
            <a:cxnSpLocks/>
          </p:cNvCxnSpPr>
          <p:nvPr userDrawn="1"/>
        </p:nvCxnSpPr>
        <p:spPr>
          <a:xfrm>
            <a:off x="6819900" y="1764000"/>
            <a:ext cx="46520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15">
            <a:extLst>
              <a:ext uri="{FF2B5EF4-FFF2-40B4-BE49-F238E27FC236}">
                <a16:creationId xmlns:a16="http://schemas.microsoft.com/office/drawing/2014/main" id="{438AE2FC-E8C3-43A9-A707-BAD4FA72CB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78796" y="2667000"/>
            <a:ext cx="4007703" cy="993775"/>
          </a:xfrm>
        </p:spPr>
        <p:txBody>
          <a:bodyPr wrap="square" tIns="0" anchor="b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63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Adresse</a:t>
            </a:r>
            <a:br>
              <a:rPr lang="de-DE" dirty="0"/>
            </a:br>
            <a:r>
              <a:rPr lang="de-DE" dirty="0"/>
              <a:t>Kurfürstenstraße 72 – 74</a:t>
            </a:r>
            <a:br>
              <a:rPr lang="de-DE" dirty="0"/>
            </a:br>
            <a:r>
              <a:rPr lang="de-DE" dirty="0"/>
              <a:t>10787 Berlin</a:t>
            </a:r>
          </a:p>
        </p:txBody>
      </p:sp>
      <p:sp>
        <p:nvSpPr>
          <p:cNvPr id="41" name="Textplatzhalter 15">
            <a:extLst>
              <a:ext uri="{FF2B5EF4-FFF2-40B4-BE49-F238E27FC236}">
                <a16:creationId xmlns:a16="http://schemas.microsoft.com/office/drawing/2014/main" id="{23057C50-88C9-4365-8E0C-44E6EAE73E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78797" y="4710695"/>
            <a:ext cx="4007703" cy="528056"/>
          </a:xfrm>
        </p:spPr>
        <p:txBody>
          <a:bodyPr wrap="square" tIns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63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Bereich eingeben </a:t>
            </a:r>
            <a:br>
              <a:rPr lang="de-DE" dirty="0"/>
            </a:br>
            <a:r>
              <a:rPr lang="de-DE" dirty="0"/>
              <a:t>auch zweizeilig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2278796" y="4433344"/>
            <a:ext cx="4007703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400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</a:pPr>
            <a:r>
              <a:rPr lang="ru-RU" sz="1700" b="1" dirty="0">
                <a:solidFill>
                  <a:srgbClr val="0096AF"/>
                </a:solidFill>
              </a:rPr>
              <a:t>Практика</a:t>
            </a:r>
            <a:endParaRPr lang="de-DE" sz="1700" b="1" dirty="0">
              <a:solidFill>
                <a:srgbClr val="0096AF"/>
              </a:solidFill>
            </a:endParaRPr>
          </a:p>
        </p:txBody>
      </p:sp>
      <p:sp>
        <p:nvSpPr>
          <p:cNvPr id="48" name="Textplatzhalter 15">
            <a:extLst>
              <a:ext uri="{FF2B5EF4-FFF2-40B4-BE49-F238E27FC236}">
                <a16:creationId xmlns:a16="http://schemas.microsoft.com/office/drawing/2014/main" id="{26DB06FC-3496-4BEF-BDD4-B9337A2252E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57048" y="5417110"/>
            <a:ext cx="3729452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+49 XX XXXXX-XXX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B935C04-6484-4D75-8764-D184DCED57DC}"/>
              </a:ext>
            </a:extLst>
          </p:cNvPr>
          <p:cNvSpPr/>
          <p:nvPr userDrawn="1"/>
        </p:nvSpPr>
        <p:spPr>
          <a:xfrm>
            <a:off x="2278797" y="5417110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400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</a:pPr>
            <a:r>
              <a:rPr lang="de-DE" sz="1700" b="1" dirty="0">
                <a:solidFill>
                  <a:srgbClr val="0096AF"/>
                </a:solidFill>
              </a:rPr>
              <a:t>T</a:t>
            </a:r>
          </a:p>
        </p:txBody>
      </p:sp>
      <p:sp>
        <p:nvSpPr>
          <p:cNvPr id="50" name="Textplatzhalter 15">
            <a:extLst>
              <a:ext uri="{FF2B5EF4-FFF2-40B4-BE49-F238E27FC236}">
                <a16:creationId xmlns:a16="http://schemas.microsoft.com/office/drawing/2014/main" id="{A6C426AD-E048-4CEB-BDC5-13D8ADAFB5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57048" y="5705295"/>
            <a:ext cx="3729452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vorname.nachname@bblaw.com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E54096E-7C68-42B4-A80E-CE44F08263A2}"/>
              </a:ext>
            </a:extLst>
          </p:cNvPr>
          <p:cNvSpPr/>
          <p:nvPr userDrawn="1"/>
        </p:nvSpPr>
        <p:spPr>
          <a:xfrm>
            <a:off x="2278797" y="5705295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400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</a:pPr>
            <a:r>
              <a:rPr lang="de-DE" sz="1700" b="1" dirty="0">
                <a:solidFill>
                  <a:srgbClr val="0096AF"/>
                </a:solidFill>
              </a:rPr>
              <a:t>E</a:t>
            </a:r>
          </a:p>
        </p:txBody>
      </p:sp>
      <p:sp>
        <p:nvSpPr>
          <p:cNvPr id="55" name="Textplatzhalter 15">
            <a:extLst>
              <a:ext uri="{FF2B5EF4-FFF2-40B4-BE49-F238E27FC236}">
                <a16:creationId xmlns:a16="http://schemas.microsoft.com/office/drawing/2014/main" id="{B13936D6-B557-466B-8183-885D8F21F15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819900" y="2175175"/>
            <a:ext cx="4652086" cy="2757062"/>
          </a:xfrm>
        </p:spPr>
        <p:txBody>
          <a:bodyPr wrap="square" tIns="0">
            <a:noAutofit/>
          </a:bodyPr>
          <a:lstStyle>
            <a:lvl1pPr marL="171450" indent="-171450" algn="l">
              <a:lnSpc>
                <a:spcPct val="100000"/>
              </a:lnSpc>
              <a:spcAft>
                <a:spcPts val="600"/>
              </a:spcAft>
              <a:buClr>
                <a:srgbClr val="00899C"/>
              </a:buClr>
              <a:buFont typeface="Wingdings" panose="05000000000000000000" pitchFamily="2" charset="2"/>
              <a:buChar char="§"/>
              <a:tabLst>
                <a:tab pos="182563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Spezialisierung eingeben</a:t>
            </a:r>
          </a:p>
          <a:p>
            <a:pPr lvl="0"/>
            <a:r>
              <a:rPr lang="de-DE" dirty="0"/>
              <a:t> </a:t>
            </a:r>
          </a:p>
          <a:p>
            <a:pPr lvl="0"/>
            <a:r>
              <a:rPr lang="de-DE" dirty="0"/>
              <a:t> </a:t>
            </a:r>
          </a:p>
          <a:p>
            <a:pPr lvl="0"/>
            <a:r>
              <a:rPr lang="de-DE" dirty="0"/>
              <a:t> </a:t>
            </a:r>
          </a:p>
          <a:p>
            <a:pPr lvl="0"/>
            <a:r>
              <a:rPr lang="de-DE" dirty="0"/>
              <a:t> </a:t>
            </a:r>
          </a:p>
          <a:p>
            <a:pPr lvl="0"/>
            <a:r>
              <a:rPr lang="de-DE" dirty="0"/>
              <a:t> </a:t>
            </a:r>
          </a:p>
        </p:txBody>
      </p:sp>
      <p:sp>
        <p:nvSpPr>
          <p:cNvPr id="57" name="Textplatzhalter 15">
            <a:extLst>
              <a:ext uri="{FF2B5EF4-FFF2-40B4-BE49-F238E27FC236}">
                <a16:creationId xmlns:a16="http://schemas.microsoft.com/office/drawing/2014/main" id="{A0B6DC68-0775-43A7-BBA2-13E6F8A7E3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818313" y="5705298"/>
            <a:ext cx="3636000" cy="143997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7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Sprachen eingeb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C5A81F68-CDAB-4F86-B0D2-FC17A14E9F73}"/>
              </a:ext>
            </a:extLst>
          </p:cNvPr>
          <p:cNvCxnSpPr/>
          <p:nvPr userDrawn="1"/>
        </p:nvCxnSpPr>
        <p:spPr>
          <a:xfrm>
            <a:off x="2278799" y="5352935"/>
            <a:ext cx="400770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>
            <a:extLst>
              <a:ext uri="{FF2B5EF4-FFF2-40B4-BE49-F238E27FC236}">
                <a16:creationId xmlns:a16="http://schemas.microsoft.com/office/drawing/2014/main" id="{B20011F3-B3D5-4F94-8A7B-6666124605C4}"/>
              </a:ext>
            </a:extLst>
          </p:cNvPr>
          <p:cNvCxnSpPr/>
          <p:nvPr userDrawn="1"/>
        </p:nvCxnSpPr>
        <p:spPr>
          <a:xfrm>
            <a:off x="6819900" y="5352935"/>
            <a:ext cx="46520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>
            <a:extLst>
              <a:ext uri="{FF2B5EF4-FFF2-40B4-BE49-F238E27FC236}">
                <a16:creationId xmlns:a16="http://schemas.microsoft.com/office/drawing/2014/main" id="{B7A4E051-68C3-4BF3-86DD-8FC185587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719999"/>
            <a:ext cx="10751987" cy="792000"/>
          </a:xfrm>
        </p:spPr>
        <p:txBody>
          <a:bodyPr wrap="square">
            <a:noAutofit/>
          </a:bodyPr>
          <a:lstStyle>
            <a:lvl1pPr algn="l">
              <a:defRPr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6819900" y="5421248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400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</a:pPr>
            <a:r>
              <a:rPr lang="ru-RU" sz="1700" b="1" dirty="0">
                <a:solidFill>
                  <a:srgbClr val="0096AF"/>
                </a:solidFill>
              </a:rPr>
              <a:t>Языки</a:t>
            </a:r>
            <a:endParaRPr lang="de-DE" sz="1700" b="1" dirty="0">
              <a:solidFill>
                <a:srgbClr val="0096AF"/>
              </a:solidFill>
            </a:endParaRPr>
          </a:p>
        </p:txBody>
      </p:sp>
      <p:pic>
        <p:nvPicPr>
          <p:cNvPr id="3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88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Rechteck 35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6819900" y="1915113"/>
            <a:ext cx="3531453" cy="15567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400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</a:pPr>
            <a:r>
              <a:rPr lang="ru-RU" sz="1700" b="1" dirty="0">
                <a:solidFill>
                  <a:srgbClr val="0096AF"/>
                </a:solidFill>
              </a:rPr>
              <a:t>Специализация</a:t>
            </a:r>
            <a:endParaRPr lang="de-DE" sz="1700" b="1" dirty="0">
              <a:solidFill>
                <a:srgbClr val="0096AF"/>
              </a:solidFill>
            </a:endParaRPr>
          </a:p>
        </p:txBody>
      </p:sp>
      <p:sp>
        <p:nvSpPr>
          <p:cNvPr id="27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3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5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4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9998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5970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3" y="1655999"/>
            <a:ext cx="10751987" cy="4140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</a:t>
            </a:r>
            <a:r>
              <a:rPr lang="ru-RU" dirty="0"/>
              <a:t>15</a:t>
            </a:r>
            <a:r>
              <a:rPr lang="de-DE" dirty="0"/>
              <a:t>.</a:t>
            </a:r>
            <a:r>
              <a:rPr lang="ru-RU" dirty="0"/>
              <a:t>12</a:t>
            </a:r>
            <a:r>
              <a:rPr lang="de-DE" dirty="0"/>
              <a:t>.2020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</a:t>
            </a:r>
            <a:r>
              <a:rPr lang="ru-RU" dirty="0"/>
              <a:t>Антимонопольное регулирование в Российской Федерации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269960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AEC09ABE-AD2A-40C7-BE02-8D6A5F763BF0}"/>
              </a:ext>
            </a:extLst>
          </p:cNvPr>
          <p:cNvCxnSpPr/>
          <p:nvPr userDrawn="1"/>
        </p:nvCxnSpPr>
        <p:spPr>
          <a:xfrm>
            <a:off x="719999" y="1764000"/>
            <a:ext cx="134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platzhalter 15">
            <a:extLst>
              <a:ext uri="{FF2B5EF4-FFF2-40B4-BE49-F238E27FC236}">
                <a16:creationId xmlns:a16="http://schemas.microsoft.com/office/drawing/2014/main" id="{0DBE3578-AD7F-4F50-9857-1DD2A846549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77954" y="1857843"/>
            <a:ext cx="3636000" cy="408767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100" cap="none" spc="0" baseline="0">
                <a:solidFill>
                  <a:srgbClr val="00899C"/>
                </a:solidFill>
              </a:defRPr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Funktion  |  Position  |  auch zweizeilig</a:t>
            </a:r>
          </a:p>
        </p:txBody>
      </p:sp>
      <p:sp>
        <p:nvSpPr>
          <p:cNvPr id="31" name="Bildplatzhalter 30">
            <a:extLst>
              <a:ext uri="{FF2B5EF4-FFF2-40B4-BE49-F238E27FC236}">
                <a16:creationId xmlns:a16="http://schemas.microsoft.com/office/drawing/2014/main" id="{BE5019AB-39A6-44C5-863C-C04584D3CE9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19999" y="1908000"/>
            <a:ext cx="1342800" cy="1699200"/>
          </a:xfrm>
          <a:solidFill>
            <a:schemeClr val="bg2"/>
          </a:solidFill>
        </p:spPr>
        <p:txBody>
          <a:bodyPr wrap="square" tIns="0" bIns="540000" anchor="ctr">
            <a:no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Portrait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50FE44F9-87CE-4838-9679-5666042C1ADF}"/>
              </a:ext>
            </a:extLst>
          </p:cNvPr>
          <p:cNvCxnSpPr/>
          <p:nvPr userDrawn="1"/>
        </p:nvCxnSpPr>
        <p:spPr>
          <a:xfrm>
            <a:off x="2278799" y="1764000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15">
            <a:extLst>
              <a:ext uri="{FF2B5EF4-FFF2-40B4-BE49-F238E27FC236}">
                <a16:creationId xmlns:a16="http://schemas.microsoft.com/office/drawing/2014/main" id="{438AE2FC-E8C3-43A9-A707-BAD4FA72CB4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77954" y="2264569"/>
            <a:ext cx="3636000" cy="574521"/>
          </a:xfrm>
        </p:spPr>
        <p:txBody>
          <a:bodyPr wrap="square" tIns="0" anchor="b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Adresse</a:t>
            </a:r>
            <a:br>
              <a:rPr lang="de-DE" dirty="0"/>
            </a:br>
            <a:r>
              <a:rPr lang="de-DE" dirty="0"/>
              <a:t>Kurfürstenstraße 72 – 74</a:t>
            </a:r>
            <a:br>
              <a:rPr lang="de-DE" dirty="0"/>
            </a:br>
            <a:r>
              <a:rPr lang="de-DE" dirty="0"/>
              <a:t>10787 Berlin</a:t>
            </a:r>
          </a:p>
        </p:txBody>
      </p:sp>
      <p:sp>
        <p:nvSpPr>
          <p:cNvPr id="41" name="Textplatzhalter 15">
            <a:extLst>
              <a:ext uri="{FF2B5EF4-FFF2-40B4-BE49-F238E27FC236}">
                <a16:creationId xmlns:a16="http://schemas.microsoft.com/office/drawing/2014/main" id="{23057C50-88C9-4365-8E0C-44E6EAE73E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74219" y="3067860"/>
            <a:ext cx="2640581" cy="396000"/>
          </a:xfrm>
        </p:spPr>
        <p:txBody>
          <a:bodyPr wrap="square" tIns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Bereich eingeben </a:t>
            </a:r>
            <a:br>
              <a:rPr lang="de-DE" dirty="0"/>
            </a:br>
            <a:r>
              <a:rPr lang="de-DE" dirty="0"/>
              <a:t>auch zweizeilig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2277954" y="3050524"/>
            <a:ext cx="972000" cy="180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400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</a:pPr>
            <a:r>
              <a:rPr lang="de-DE" sz="1100" b="1" dirty="0">
                <a:solidFill>
                  <a:srgbClr val="00899C"/>
                </a:solidFill>
              </a:rPr>
              <a:t>Praxisgruppe</a:t>
            </a:r>
          </a:p>
        </p:txBody>
      </p:sp>
      <p:sp>
        <p:nvSpPr>
          <p:cNvPr id="48" name="Textplatzhalter 15">
            <a:extLst>
              <a:ext uri="{FF2B5EF4-FFF2-40B4-BE49-F238E27FC236}">
                <a16:creationId xmlns:a16="http://schemas.microsoft.com/office/drawing/2014/main" id="{26DB06FC-3496-4BEF-BDD4-B9337A2252E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557048" y="3460217"/>
            <a:ext cx="3357751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+49 XX XXXXX-XXX</a:t>
            </a: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B935C04-6484-4D75-8764-D184DCED57DC}"/>
              </a:ext>
            </a:extLst>
          </p:cNvPr>
          <p:cNvSpPr/>
          <p:nvPr userDrawn="1"/>
        </p:nvSpPr>
        <p:spPr>
          <a:xfrm>
            <a:off x="2277954" y="3458552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400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T</a:t>
            </a:r>
          </a:p>
        </p:txBody>
      </p:sp>
      <p:sp>
        <p:nvSpPr>
          <p:cNvPr id="50" name="Textplatzhalter 15">
            <a:extLst>
              <a:ext uri="{FF2B5EF4-FFF2-40B4-BE49-F238E27FC236}">
                <a16:creationId xmlns:a16="http://schemas.microsoft.com/office/drawing/2014/main" id="{A6C426AD-E048-4CEB-BDC5-13D8ADAFB5D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557048" y="3664588"/>
            <a:ext cx="3357751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vorname.nachname@bblaw.com</a:t>
            </a:r>
          </a:p>
        </p:txBody>
      </p:sp>
      <p:sp>
        <p:nvSpPr>
          <p:cNvPr id="51" name="Rechteck 50">
            <a:extLst>
              <a:ext uri="{FF2B5EF4-FFF2-40B4-BE49-F238E27FC236}">
                <a16:creationId xmlns:a16="http://schemas.microsoft.com/office/drawing/2014/main" id="{7E54096E-7C68-42B4-A80E-CE44F08263A2}"/>
              </a:ext>
            </a:extLst>
          </p:cNvPr>
          <p:cNvSpPr/>
          <p:nvPr userDrawn="1"/>
        </p:nvSpPr>
        <p:spPr>
          <a:xfrm>
            <a:off x="2277954" y="3662923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400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E</a:t>
            </a:r>
          </a:p>
        </p:txBody>
      </p:sp>
      <p:sp>
        <p:nvSpPr>
          <p:cNvPr id="55" name="Textplatzhalter 15">
            <a:extLst>
              <a:ext uri="{FF2B5EF4-FFF2-40B4-BE49-F238E27FC236}">
                <a16:creationId xmlns:a16="http://schemas.microsoft.com/office/drawing/2014/main" id="{B13936D6-B557-466B-8183-885D8F21F15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77954" y="4293638"/>
            <a:ext cx="3636000" cy="1260000"/>
          </a:xfrm>
        </p:spPr>
        <p:txBody>
          <a:bodyPr wrap="square" tIns="0">
            <a:noAutofit/>
          </a:bodyPr>
          <a:lstStyle>
            <a:lvl1pPr marL="171450" indent="-171450" algn="l">
              <a:lnSpc>
                <a:spcPts val="1600"/>
              </a:lnSpc>
              <a:spcAft>
                <a:spcPts val="0"/>
              </a:spcAft>
              <a:buClr>
                <a:srgbClr val="00899C"/>
              </a:buClr>
              <a:buFont typeface="Wingdings" panose="05000000000000000000" pitchFamily="2" charset="2"/>
              <a:buChar char="§"/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Spezialisierung eingeben</a:t>
            </a:r>
          </a:p>
        </p:txBody>
      </p:sp>
      <p:cxnSp>
        <p:nvCxnSpPr>
          <p:cNvPr id="62" name="Gerader Verbinder 61">
            <a:extLst>
              <a:ext uri="{FF2B5EF4-FFF2-40B4-BE49-F238E27FC236}">
                <a16:creationId xmlns:a16="http://schemas.microsoft.com/office/drawing/2014/main" id="{C5A81F68-CDAB-4F86-B0D2-FC17A14E9F73}"/>
              </a:ext>
            </a:extLst>
          </p:cNvPr>
          <p:cNvCxnSpPr/>
          <p:nvPr userDrawn="1"/>
        </p:nvCxnSpPr>
        <p:spPr>
          <a:xfrm>
            <a:off x="2278799" y="3970115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el 2">
            <a:extLst>
              <a:ext uri="{FF2B5EF4-FFF2-40B4-BE49-F238E27FC236}">
                <a16:creationId xmlns:a16="http://schemas.microsoft.com/office/drawing/2014/main" id="{B7A4E051-68C3-4BF3-86DD-8FC185587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719999"/>
            <a:ext cx="5194800" cy="792000"/>
          </a:xfrm>
        </p:spPr>
        <p:txBody>
          <a:bodyPr wrap="square">
            <a:noAutofit/>
          </a:bodyPr>
          <a:lstStyle>
            <a:lvl1pPr algn="l">
              <a:defRPr spc="60" baseline="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7736D829-D252-467B-823D-5E89F4482759}"/>
              </a:ext>
            </a:extLst>
          </p:cNvPr>
          <p:cNvCxnSpPr/>
          <p:nvPr userDrawn="1"/>
        </p:nvCxnSpPr>
        <p:spPr>
          <a:xfrm>
            <a:off x="6277202" y="1764000"/>
            <a:ext cx="13428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80ECECF0-8DDA-48D6-A9B0-DB1A178E398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836000" y="1857843"/>
            <a:ext cx="3636000" cy="408767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100" cap="none" spc="0" baseline="0">
                <a:solidFill>
                  <a:schemeClr val="accent4"/>
                </a:solidFill>
              </a:defRPr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Funktion  |  Position  |  auch zweizeilig</a:t>
            </a:r>
          </a:p>
        </p:txBody>
      </p:sp>
      <p:sp>
        <p:nvSpPr>
          <p:cNvPr id="27" name="Bildplatzhalter 30">
            <a:extLst>
              <a:ext uri="{FF2B5EF4-FFF2-40B4-BE49-F238E27FC236}">
                <a16:creationId xmlns:a16="http://schemas.microsoft.com/office/drawing/2014/main" id="{4935B6D7-8E58-49AF-A83D-D1376A237C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6277202" y="1908000"/>
            <a:ext cx="1342800" cy="1699200"/>
          </a:xfrm>
          <a:solidFill>
            <a:schemeClr val="bg2"/>
          </a:solidFill>
        </p:spPr>
        <p:txBody>
          <a:bodyPr wrap="square" tIns="0" bIns="540000" anchor="ctr">
            <a:no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Portrait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D3D95ABC-68E4-4F66-824B-147332A09981}"/>
              </a:ext>
            </a:extLst>
          </p:cNvPr>
          <p:cNvCxnSpPr/>
          <p:nvPr userDrawn="1"/>
        </p:nvCxnSpPr>
        <p:spPr>
          <a:xfrm>
            <a:off x="7836002" y="1764000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15">
            <a:extLst>
              <a:ext uri="{FF2B5EF4-FFF2-40B4-BE49-F238E27FC236}">
                <a16:creationId xmlns:a16="http://schemas.microsoft.com/office/drawing/2014/main" id="{30CCF38B-383C-41A2-A127-FD319E715E3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36000" y="2264569"/>
            <a:ext cx="3636000" cy="574521"/>
          </a:xfrm>
        </p:spPr>
        <p:txBody>
          <a:bodyPr wrap="square" tIns="0" anchor="b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Adresse</a:t>
            </a:r>
            <a:br>
              <a:rPr lang="de-DE" dirty="0"/>
            </a:br>
            <a:r>
              <a:rPr lang="de-DE" dirty="0"/>
              <a:t>Kurfürstenstraße 72 – 74</a:t>
            </a:r>
            <a:br>
              <a:rPr lang="de-DE" dirty="0"/>
            </a:br>
            <a:r>
              <a:rPr lang="de-DE" dirty="0"/>
              <a:t>10787 Berlin</a:t>
            </a:r>
          </a:p>
        </p:txBody>
      </p:sp>
      <p:sp>
        <p:nvSpPr>
          <p:cNvPr id="33" name="Textplatzhalter 15">
            <a:extLst>
              <a:ext uri="{FF2B5EF4-FFF2-40B4-BE49-F238E27FC236}">
                <a16:creationId xmlns:a16="http://schemas.microsoft.com/office/drawing/2014/main" id="{3300BC44-E531-4F0B-85CF-BB44846DE0F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831422" y="3067860"/>
            <a:ext cx="2640581" cy="396000"/>
          </a:xfrm>
        </p:spPr>
        <p:txBody>
          <a:bodyPr wrap="square" tIns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Bereich eingeben </a:t>
            </a:r>
            <a:br>
              <a:rPr lang="de-DE" dirty="0"/>
            </a:br>
            <a:r>
              <a:rPr lang="de-DE" dirty="0"/>
              <a:t>auch zweizeilig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E5557544-5A9F-44DE-9A47-DDAF4E2786CC}"/>
              </a:ext>
            </a:extLst>
          </p:cNvPr>
          <p:cNvSpPr/>
          <p:nvPr userDrawn="1"/>
        </p:nvSpPr>
        <p:spPr>
          <a:xfrm>
            <a:off x="7836000" y="3050524"/>
            <a:ext cx="972000" cy="180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400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Praxisgruppe</a:t>
            </a:r>
          </a:p>
        </p:txBody>
      </p:sp>
      <p:sp>
        <p:nvSpPr>
          <p:cNvPr id="35" name="Textplatzhalter 15">
            <a:extLst>
              <a:ext uri="{FF2B5EF4-FFF2-40B4-BE49-F238E27FC236}">
                <a16:creationId xmlns:a16="http://schemas.microsoft.com/office/drawing/2014/main" id="{F2999124-3124-4797-8EA9-4966132A347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14251" y="3458688"/>
            <a:ext cx="3357751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+49 XX XXXXX-XXX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4CDE5877-5A28-4090-ADB9-9B5BF9CDBCCE}"/>
              </a:ext>
            </a:extLst>
          </p:cNvPr>
          <p:cNvSpPr/>
          <p:nvPr userDrawn="1"/>
        </p:nvSpPr>
        <p:spPr>
          <a:xfrm>
            <a:off x="7836000" y="3461951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400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T</a:t>
            </a:r>
          </a:p>
        </p:txBody>
      </p:sp>
      <p:sp>
        <p:nvSpPr>
          <p:cNvPr id="43" name="Textplatzhalter 15">
            <a:extLst>
              <a:ext uri="{FF2B5EF4-FFF2-40B4-BE49-F238E27FC236}">
                <a16:creationId xmlns:a16="http://schemas.microsoft.com/office/drawing/2014/main" id="{E68128DA-E42A-4D9C-94CE-C1D44062B54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4251" y="3664588"/>
            <a:ext cx="3357751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vorname.nachname@bblaw.com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9B7C2E97-D2D0-46B4-931F-3DB4D2FF5C12}"/>
              </a:ext>
            </a:extLst>
          </p:cNvPr>
          <p:cNvSpPr/>
          <p:nvPr userDrawn="1"/>
        </p:nvSpPr>
        <p:spPr>
          <a:xfrm>
            <a:off x="7836000" y="3664588"/>
            <a:ext cx="180000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400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E</a:t>
            </a:r>
          </a:p>
        </p:txBody>
      </p:sp>
      <p:sp>
        <p:nvSpPr>
          <p:cNvPr id="46" name="Textplatzhalter 15">
            <a:extLst>
              <a:ext uri="{FF2B5EF4-FFF2-40B4-BE49-F238E27FC236}">
                <a16:creationId xmlns:a16="http://schemas.microsoft.com/office/drawing/2014/main" id="{95683C92-07E1-4548-9373-5AAE3DB6AEF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836000" y="4293637"/>
            <a:ext cx="3636000" cy="1259997"/>
          </a:xfrm>
        </p:spPr>
        <p:txBody>
          <a:bodyPr wrap="square" tIns="0">
            <a:noAutofit/>
          </a:bodyPr>
          <a:lstStyle>
            <a:lvl1pPr marL="171450" indent="-171450" algn="l">
              <a:lnSpc>
                <a:spcPts val="1600"/>
              </a:lnSpc>
              <a:spcAft>
                <a:spcPts val="0"/>
              </a:spcAft>
              <a:buClr>
                <a:srgbClr val="00899C"/>
              </a:buClr>
              <a:buFont typeface="Wingdings" panose="05000000000000000000" pitchFamily="2" charset="2"/>
              <a:buChar char="§"/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Spezialisierung eingeben</a:t>
            </a:r>
          </a:p>
        </p:txBody>
      </p:sp>
      <p:sp>
        <p:nvSpPr>
          <p:cNvPr id="52" name="Textplatzhalter 15">
            <a:extLst>
              <a:ext uri="{FF2B5EF4-FFF2-40B4-BE49-F238E27FC236}">
                <a16:creationId xmlns:a16="http://schemas.microsoft.com/office/drawing/2014/main" id="{6C099A96-E9CE-460B-B59E-CD1AD09BAAD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836000" y="5970185"/>
            <a:ext cx="3636000" cy="144000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Sprachen eingeben</a:t>
            </a:r>
          </a:p>
        </p:txBody>
      </p:sp>
      <p:cxnSp>
        <p:nvCxnSpPr>
          <p:cNvPr id="53" name="Gerader Verbinder 52">
            <a:extLst>
              <a:ext uri="{FF2B5EF4-FFF2-40B4-BE49-F238E27FC236}">
                <a16:creationId xmlns:a16="http://schemas.microsoft.com/office/drawing/2014/main" id="{A7F6EB79-B11C-425E-8AA5-8ECA3B61134A}"/>
              </a:ext>
            </a:extLst>
          </p:cNvPr>
          <p:cNvCxnSpPr/>
          <p:nvPr userDrawn="1"/>
        </p:nvCxnSpPr>
        <p:spPr>
          <a:xfrm>
            <a:off x="7836002" y="3970115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5038D851-E937-40AF-AF4C-F3E50DEAD46E}"/>
              </a:ext>
            </a:extLst>
          </p:cNvPr>
          <p:cNvCxnSpPr/>
          <p:nvPr userDrawn="1"/>
        </p:nvCxnSpPr>
        <p:spPr>
          <a:xfrm>
            <a:off x="7836002" y="5641586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2EC7159-F8F3-4048-931D-C8DB2C0F10C9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277202" y="719999"/>
            <a:ext cx="5194784" cy="792000"/>
          </a:xfrm>
        </p:spPr>
        <p:txBody>
          <a:bodyPr vert="horz" wrap="square" lIns="0" tIns="0" rIns="0" bIns="0" rtlCol="0" anchor="t">
            <a:noAutofit/>
          </a:bodyPr>
          <a:lstStyle>
            <a:lvl1pPr algn="l">
              <a:defRPr lang="de-DE" sz="2400" cap="all" spc="60" dirty="0">
                <a:ea typeface="+mj-ea"/>
                <a:cs typeface="+mj-cs"/>
              </a:defRPr>
            </a:lvl1pPr>
          </a:lstStyle>
          <a:p>
            <a:pPr lvl="0" algn="l">
              <a:lnSpc>
                <a:spcPts val="3100"/>
              </a:lnSpc>
              <a:spcBef>
                <a:spcPct val="0"/>
              </a:spcBef>
              <a:tabLst>
                <a:tab pos="444500" algn="l"/>
              </a:tabLst>
            </a:pPr>
            <a:r>
              <a:rPr lang="de-DE"/>
              <a:t>Textmasterformat bearbeiten</a:t>
            </a:r>
          </a:p>
        </p:txBody>
      </p:sp>
      <p:sp>
        <p:nvSpPr>
          <p:cNvPr id="60" name="Textplatzhalter 15">
            <a:extLst>
              <a:ext uri="{FF2B5EF4-FFF2-40B4-BE49-F238E27FC236}">
                <a16:creationId xmlns:a16="http://schemas.microsoft.com/office/drawing/2014/main" id="{9284B8AD-B901-4B84-BA90-3DA673DDC7D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77954" y="5970185"/>
            <a:ext cx="3636000" cy="143997"/>
          </a:xfrm>
        </p:spPr>
        <p:txBody>
          <a:bodyPr wrap="square" tIns="0">
            <a:noAutofit/>
          </a:bodyPr>
          <a:lstStyle>
            <a:lvl1pPr algn="l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  <a:defRPr sz="1100" b="0" cap="none" spc="0" baseline="0"/>
            </a:lvl1pPr>
            <a:lvl2pPr>
              <a:lnSpc>
                <a:spcPts val="1200"/>
              </a:lnSpc>
              <a:tabLst>
                <a:tab pos="182563" algn="l"/>
              </a:tabLst>
              <a:defRPr sz="900"/>
            </a:lvl2pPr>
            <a:lvl3pPr>
              <a:lnSpc>
                <a:spcPts val="1200"/>
              </a:lnSpc>
              <a:tabLst>
                <a:tab pos="182563" algn="l"/>
              </a:tabLst>
              <a:defRPr sz="900"/>
            </a:lvl3pPr>
            <a:lvl4pPr>
              <a:lnSpc>
                <a:spcPts val="1200"/>
              </a:lnSpc>
              <a:tabLst>
                <a:tab pos="182563" algn="l"/>
              </a:tabLst>
              <a:defRPr sz="900"/>
            </a:lvl4pPr>
            <a:lvl5pPr>
              <a:lnSpc>
                <a:spcPts val="1200"/>
              </a:lnSpc>
              <a:tabLst>
                <a:tab pos="182563" algn="l"/>
              </a:tabLst>
              <a:defRPr sz="900"/>
            </a:lvl5pPr>
          </a:lstStyle>
          <a:p>
            <a:pPr lvl="0"/>
            <a:r>
              <a:rPr lang="de-DE" dirty="0"/>
              <a:t>Sprachen eingeben</a:t>
            </a:r>
          </a:p>
        </p:txBody>
      </p: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F0E8DD84-DF77-440C-9F27-2A062AD1EDAE}"/>
              </a:ext>
            </a:extLst>
          </p:cNvPr>
          <p:cNvCxnSpPr/>
          <p:nvPr userDrawn="1"/>
        </p:nvCxnSpPr>
        <p:spPr>
          <a:xfrm>
            <a:off x="2278799" y="5641586"/>
            <a:ext cx="363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hteck 55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2277954" y="4089104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400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Spezialgebiete</a:t>
            </a: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7836000" y="4090801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400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</a:pPr>
            <a:r>
              <a:rPr lang="de-DE" sz="1100" b="1" dirty="0">
                <a:solidFill>
                  <a:srgbClr val="0096AF"/>
                </a:solidFill>
              </a:rPr>
              <a:t>Spezialgebiete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2277954" y="5767722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400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</a:pPr>
            <a:r>
              <a:rPr lang="de-DE" sz="1100" b="1" dirty="0">
                <a:solidFill>
                  <a:srgbClr val="00899C"/>
                </a:solidFill>
              </a:rPr>
              <a:t>Sprachen</a:t>
            </a:r>
          </a:p>
        </p:txBody>
      </p:sp>
      <p:sp>
        <p:nvSpPr>
          <p:cNvPr id="68" name="Rechteck 67">
            <a:extLst>
              <a:ext uri="{FF2B5EF4-FFF2-40B4-BE49-F238E27FC236}">
                <a16:creationId xmlns:a16="http://schemas.microsoft.com/office/drawing/2014/main" id="{09199247-DA5F-4265-AC75-35DDF8E5A279}"/>
              </a:ext>
            </a:extLst>
          </p:cNvPr>
          <p:cNvSpPr/>
          <p:nvPr userDrawn="1"/>
        </p:nvSpPr>
        <p:spPr>
          <a:xfrm>
            <a:off x="7836000" y="5767722"/>
            <a:ext cx="2448315" cy="144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defTabSz="914400">
              <a:lnSpc>
                <a:spcPts val="1600"/>
              </a:lnSpc>
              <a:spcAft>
                <a:spcPts val="600"/>
              </a:spcAft>
              <a:tabLst>
                <a:tab pos="182563" algn="l"/>
              </a:tabLst>
            </a:pPr>
            <a:r>
              <a:rPr lang="de-DE" sz="1100" b="1" dirty="0">
                <a:solidFill>
                  <a:srgbClr val="00899C"/>
                </a:solidFill>
              </a:rPr>
              <a:t>Sprachen</a:t>
            </a:r>
          </a:p>
        </p:txBody>
      </p:sp>
      <p:pic>
        <p:nvPicPr>
          <p:cNvPr id="7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88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4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5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5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9998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04568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nzleiüberblick ein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6310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200"/>
              </a:lnSpc>
            </a:pPr>
            <a:endParaRPr lang="de-DE" sz="2400" b="1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585075" y="1"/>
            <a:ext cx="4606925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17C61F-8D2B-4B28-AC3B-49847D206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719999"/>
            <a:ext cx="5507764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D6FEAB31-C8DB-407E-8E7B-D21BC3BFA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5999"/>
            <a:ext cx="5507764" cy="41352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BEITEN BURKHARDT | 28/05/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5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rgbClr val="003E77"/>
                </a:solidFill>
              </a:rPr>
              <a:t>| Title of Presentation OR Event</a:t>
            </a:r>
            <a:endParaRPr lang="de-DE" dirty="0">
              <a:solidFill>
                <a:srgbClr val="003E77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9998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4" y="5731826"/>
            <a:ext cx="1259633" cy="1129004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60239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tionale Strategie_ein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719999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E7F38DB-160E-4457-9A09-47BC361978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9998" y="2609836"/>
            <a:ext cx="2864577" cy="1466865"/>
          </a:xfrm>
        </p:spPr>
        <p:txBody>
          <a:bodyPr tIns="0"/>
          <a:lstStyle>
            <a:lvl1pPr algn="l">
              <a:defRPr sz="7000"/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55793B-72DF-46FB-BD0D-7ACA802175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9423" y="3613149"/>
            <a:ext cx="2863991" cy="228282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 marL="354013" indent="-176213">
              <a:buClr>
                <a:schemeClr val="accent4"/>
              </a:buClr>
              <a:buFont typeface="Wingdings" panose="05000000000000000000" pitchFamily="2" charset="2"/>
              <a:buChar char="§"/>
              <a:defRPr sz="1400"/>
            </a:lvl4pPr>
            <a:lvl5pPr marL="354013" indent="-269875"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83CB1899-849D-4DA3-B596-8968912A29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63703" y="2609836"/>
            <a:ext cx="2864577" cy="1466865"/>
          </a:xfrm>
        </p:spPr>
        <p:txBody>
          <a:bodyPr tIns="0"/>
          <a:lstStyle>
            <a:lvl1pPr algn="l">
              <a:defRPr sz="70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B53AB505-F2BA-4167-80DC-A88F00FEC91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63703" y="3613149"/>
            <a:ext cx="2863991" cy="228282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 marL="354013" indent="-176213">
              <a:buClr>
                <a:schemeClr val="accent4"/>
              </a:buClr>
              <a:buFont typeface="Wingdings" panose="05000000000000000000" pitchFamily="2" charset="2"/>
              <a:buChar char="§"/>
              <a:defRPr sz="1400"/>
            </a:lvl4pPr>
            <a:lvl5pPr marL="354013" indent="-269875"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47CF6758-5BFF-4FAB-BFEB-642AE33CBF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07409" y="2609836"/>
            <a:ext cx="2864577" cy="1466865"/>
          </a:xfrm>
        </p:spPr>
        <p:txBody>
          <a:bodyPr tIns="0"/>
          <a:lstStyle>
            <a:lvl1pPr algn="l">
              <a:defRPr sz="7000">
                <a:solidFill>
                  <a:srgbClr val="4F81BD"/>
                </a:solidFill>
              </a:defRPr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28086083-D834-4197-BDEC-9C1F4476D99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607995" y="3613149"/>
            <a:ext cx="2863991" cy="228282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 marL="354013" indent="-176213">
              <a:buClr>
                <a:schemeClr val="accent4"/>
              </a:buClr>
              <a:buFont typeface="Wingdings" panose="05000000000000000000" pitchFamily="2" charset="2"/>
              <a:buChar char="§"/>
              <a:defRPr sz="1400"/>
            </a:lvl4pPr>
            <a:lvl5pPr marL="354013" indent="-260350">
              <a:defRPr sz="14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BEITEN BURKHARDT | 28/05/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5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rgbClr val="003E77"/>
                </a:solidFill>
              </a:rPr>
              <a:t>| Title of Presentation OR Event</a:t>
            </a:r>
            <a:endParaRPr lang="de-DE" dirty="0">
              <a:solidFill>
                <a:srgbClr val="003E77"/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9998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88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platzhalter 2"/>
          <p:cNvSpPr>
            <a:spLocks noGrp="1"/>
          </p:cNvSpPr>
          <p:nvPr>
            <p:ph type="body" sz="quarter" idx="24"/>
          </p:nvPr>
        </p:nvSpPr>
        <p:spPr>
          <a:xfrm>
            <a:off x="723900" y="1724025"/>
            <a:ext cx="10755313" cy="8763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190299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bales Netzwerk_ein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0" y="1655999"/>
            <a:ext cx="5194784" cy="414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35ACC148-410C-4F10-8110-9462A4FDE40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92919" y="1655999"/>
            <a:ext cx="5194784" cy="41400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BEITEN BURKHARDT | 28/05/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5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srgbClr val="003E77"/>
                </a:solidFill>
              </a:rPr>
              <a:t>| Title of Presentation OR Event</a:t>
            </a:r>
            <a:endParaRPr lang="de-DE" dirty="0">
              <a:solidFill>
                <a:srgbClr val="003E77"/>
              </a:solidFill>
            </a:endParaRP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9998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88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07924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ort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4E4D72C8-8334-4C32-BCBC-D405EE84DB1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9999" y="719999"/>
            <a:ext cx="10751987" cy="79200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e Standort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7BA4690-8A97-4744-8009-CC185E1981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801FC98-A3D8-45C1-8E79-A0AF72AA5A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86E9BDB6-EFB2-449E-BAA5-F7E864ECD6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5C2613F-F17E-478E-8D88-D545B0EFC70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8694" y="1764368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2A0D8B37-A108-4D18-9124-C3677520884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8694" y="1926736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6F80746F-026C-45AE-9681-251395FA44E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8694" y="2089104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1B0C9964-697C-4703-BD9C-54FB04BADC5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8694" y="2251472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167B3649-5E08-4DCB-80FE-40A0764FEB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8694" y="2413840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0DD34ECA-CAC5-41EE-A095-FD3837277F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98694" y="2413840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FDAF70A9-B2F7-4A05-BA3F-F678949171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8694" y="2576208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85F099B3-B4CB-4D3D-8507-E7FB1FDD09D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8694" y="2576208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21DB88AF-319D-4157-B1AE-9CDCC9F48C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8694" y="2738578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741015C2-025F-49BA-A050-C5307833D57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8694" y="2738578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A6DE70F5-86D5-4DAA-9C92-66BF03C9EE1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18694" y="3233980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6BFCF71A-B646-4692-9092-239926DC596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18694" y="3396348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160CE1DC-A1F1-44AB-A8DC-72B0DF720DF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18694" y="3558716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D6B6A795-0A2D-4FE9-A0A1-79826E38F2A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8694" y="3721084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E90258CF-659E-45BC-A22B-5EBBAA4BE1E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8694" y="388345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863FB24F-0BA4-4991-A19F-0964E1A0477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8694" y="388345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39" name="Textplatzhalter 3">
            <a:extLst>
              <a:ext uri="{FF2B5EF4-FFF2-40B4-BE49-F238E27FC236}">
                <a16:creationId xmlns:a16="http://schemas.microsoft.com/office/drawing/2014/main" id="{CB474BA4-126C-4150-AE79-0371CB610A7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18694" y="4045820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40" name="Textplatzhalter 3">
            <a:extLst>
              <a:ext uri="{FF2B5EF4-FFF2-40B4-BE49-F238E27FC236}">
                <a16:creationId xmlns:a16="http://schemas.microsoft.com/office/drawing/2014/main" id="{8B73A060-C282-4A1B-9E3F-4BF023F0E14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98694" y="4045820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0ED4068E-4673-4A36-8027-BA2E8FD5B02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18694" y="4208190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42" name="Textplatzhalter 3">
            <a:extLst>
              <a:ext uri="{FF2B5EF4-FFF2-40B4-BE49-F238E27FC236}">
                <a16:creationId xmlns:a16="http://schemas.microsoft.com/office/drawing/2014/main" id="{BFDDE18F-0475-4A02-9EEA-7816947D57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98694" y="4208190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43" name="Textplatzhalter 3">
            <a:extLst>
              <a:ext uri="{FF2B5EF4-FFF2-40B4-BE49-F238E27FC236}">
                <a16:creationId xmlns:a16="http://schemas.microsoft.com/office/drawing/2014/main" id="{D0C6F64A-103E-4289-B654-9FAE09350467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18694" y="4701315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55214579-8B39-46B4-B918-EE0316CE8B6F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18694" y="4863683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5" name="Textplatzhalter 3">
            <a:extLst>
              <a:ext uri="{FF2B5EF4-FFF2-40B4-BE49-F238E27FC236}">
                <a16:creationId xmlns:a16="http://schemas.microsoft.com/office/drawing/2014/main" id="{B7EE0A87-34A2-4330-8BEB-59B305248B8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18694" y="5026051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46" name="Textplatzhalter 3">
            <a:extLst>
              <a:ext uri="{FF2B5EF4-FFF2-40B4-BE49-F238E27FC236}">
                <a16:creationId xmlns:a16="http://schemas.microsoft.com/office/drawing/2014/main" id="{A361E03D-D046-4EDA-AC2C-55D0AC09087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18694" y="5188419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47" name="Textplatzhalter 3">
            <a:extLst>
              <a:ext uri="{FF2B5EF4-FFF2-40B4-BE49-F238E27FC236}">
                <a16:creationId xmlns:a16="http://schemas.microsoft.com/office/drawing/2014/main" id="{683FE138-90A1-46F8-9BE9-80543F9B42B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18694" y="5350787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48" name="Textplatzhalter 3">
            <a:extLst>
              <a:ext uri="{FF2B5EF4-FFF2-40B4-BE49-F238E27FC236}">
                <a16:creationId xmlns:a16="http://schemas.microsoft.com/office/drawing/2014/main" id="{58426354-BC02-4652-8675-2B0FDFB31D3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98694" y="5350787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49" name="Textplatzhalter 3">
            <a:extLst>
              <a:ext uri="{FF2B5EF4-FFF2-40B4-BE49-F238E27FC236}">
                <a16:creationId xmlns:a16="http://schemas.microsoft.com/office/drawing/2014/main" id="{3E6D7105-6DC5-40E3-930E-64F82A227CF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18694" y="5513155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50" name="Textplatzhalter 3">
            <a:extLst>
              <a:ext uri="{FF2B5EF4-FFF2-40B4-BE49-F238E27FC236}">
                <a16:creationId xmlns:a16="http://schemas.microsoft.com/office/drawing/2014/main" id="{99ABCF8A-5288-4AD2-AD05-F2DCD7B3144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98694" y="5513155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51" name="Textplatzhalter 3">
            <a:extLst>
              <a:ext uri="{FF2B5EF4-FFF2-40B4-BE49-F238E27FC236}">
                <a16:creationId xmlns:a16="http://schemas.microsoft.com/office/drawing/2014/main" id="{D439FC10-6D27-414C-842D-CD8DC74874E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18694" y="5675525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8D78D848-CFB5-4FEA-8392-0D99AC7358E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898694" y="5675525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55" name="Textplatzhalter 3">
            <a:extLst>
              <a:ext uri="{FF2B5EF4-FFF2-40B4-BE49-F238E27FC236}">
                <a16:creationId xmlns:a16="http://schemas.microsoft.com/office/drawing/2014/main" id="{6BCD8115-B35C-4642-877B-1EA74F941E68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499577" y="1764368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6" name="Textplatzhalter 3">
            <a:extLst>
              <a:ext uri="{FF2B5EF4-FFF2-40B4-BE49-F238E27FC236}">
                <a16:creationId xmlns:a16="http://schemas.microsoft.com/office/drawing/2014/main" id="{51EB63BA-B8AF-4BD3-91C9-FE08952B58A1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3499577" y="1926736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7" name="Textplatzhalter 3">
            <a:extLst>
              <a:ext uri="{FF2B5EF4-FFF2-40B4-BE49-F238E27FC236}">
                <a16:creationId xmlns:a16="http://schemas.microsoft.com/office/drawing/2014/main" id="{A45705C6-C0D4-4C03-8F51-87D077B1C73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499577" y="2089104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58" name="Textplatzhalter 3">
            <a:extLst>
              <a:ext uri="{FF2B5EF4-FFF2-40B4-BE49-F238E27FC236}">
                <a16:creationId xmlns:a16="http://schemas.microsoft.com/office/drawing/2014/main" id="{CF007182-2558-4C0F-A653-0D002CCAFE8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499577" y="2251472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FDE80862-037E-4FED-B9B7-E6C4227C0D9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499577" y="2413840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60" name="Textplatzhalter 3">
            <a:extLst>
              <a:ext uri="{FF2B5EF4-FFF2-40B4-BE49-F238E27FC236}">
                <a16:creationId xmlns:a16="http://schemas.microsoft.com/office/drawing/2014/main" id="{C435A29A-8E54-4E7A-95D9-9D7B5983F5D8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3679577" y="2413840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8F356C87-27E3-467E-8BD0-4CA34109E18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3499577" y="2576208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31820810-7A4C-43E9-8E71-D25C484B2B5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679577" y="2576208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63" name="Textplatzhalter 3">
            <a:extLst>
              <a:ext uri="{FF2B5EF4-FFF2-40B4-BE49-F238E27FC236}">
                <a16:creationId xmlns:a16="http://schemas.microsoft.com/office/drawing/2014/main" id="{37A7875D-B621-40BF-873E-E159CABB289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499577" y="2738578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64" name="Textplatzhalter 3">
            <a:extLst>
              <a:ext uri="{FF2B5EF4-FFF2-40B4-BE49-F238E27FC236}">
                <a16:creationId xmlns:a16="http://schemas.microsoft.com/office/drawing/2014/main" id="{23959D29-433A-49C0-AB72-E4727DBFCB4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679577" y="2738578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65" name="Textplatzhalter 3">
            <a:extLst>
              <a:ext uri="{FF2B5EF4-FFF2-40B4-BE49-F238E27FC236}">
                <a16:creationId xmlns:a16="http://schemas.microsoft.com/office/drawing/2014/main" id="{91C6D2C8-8B64-44D2-8F3F-CE2F988F9925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499577" y="3233980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66" name="Textplatzhalter 3">
            <a:extLst>
              <a:ext uri="{FF2B5EF4-FFF2-40B4-BE49-F238E27FC236}">
                <a16:creationId xmlns:a16="http://schemas.microsoft.com/office/drawing/2014/main" id="{4984F027-DE14-4D26-92F8-F3BB0E8C8551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3499577" y="3396348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7" name="Textplatzhalter 3">
            <a:extLst>
              <a:ext uri="{FF2B5EF4-FFF2-40B4-BE49-F238E27FC236}">
                <a16:creationId xmlns:a16="http://schemas.microsoft.com/office/drawing/2014/main" id="{3F7F04CD-F9AA-4404-A30C-875D4ECFD202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499577" y="3558716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68" name="Textplatzhalter 3">
            <a:extLst>
              <a:ext uri="{FF2B5EF4-FFF2-40B4-BE49-F238E27FC236}">
                <a16:creationId xmlns:a16="http://schemas.microsoft.com/office/drawing/2014/main" id="{120A070E-F8A7-4BEB-8063-A77D2927F0A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499577" y="3721084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69" name="Textplatzhalter 3">
            <a:extLst>
              <a:ext uri="{FF2B5EF4-FFF2-40B4-BE49-F238E27FC236}">
                <a16:creationId xmlns:a16="http://schemas.microsoft.com/office/drawing/2014/main" id="{2AC0CE3C-3A13-4025-9FED-6D1B32FD717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499577" y="388345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70" name="Textplatzhalter 3">
            <a:extLst>
              <a:ext uri="{FF2B5EF4-FFF2-40B4-BE49-F238E27FC236}">
                <a16:creationId xmlns:a16="http://schemas.microsoft.com/office/drawing/2014/main" id="{2FD2A7D3-4CF4-412B-98B3-370970B48CB2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679577" y="388345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944BD036-02A9-467E-B286-BF683621619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499577" y="4045820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981C4525-F40F-4DB2-8516-0E0594B6E1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679577" y="4045820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73" name="Textplatzhalter 3">
            <a:extLst>
              <a:ext uri="{FF2B5EF4-FFF2-40B4-BE49-F238E27FC236}">
                <a16:creationId xmlns:a16="http://schemas.microsoft.com/office/drawing/2014/main" id="{944015EA-D993-4E24-8B94-BB3C423A3F20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499577" y="4208190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74" name="Textplatzhalter 3">
            <a:extLst>
              <a:ext uri="{FF2B5EF4-FFF2-40B4-BE49-F238E27FC236}">
                <a16:creationId xmlns:a16="http://schemas.microsoft.com/office/drawing/2014/main" id="{61975492-6C11-4431-9BD8-C4D936F22AA6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679577" y="4208190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75" name="Textplatzhalter 3">
            <a:extLst>
              <a:ext uri="{FF2B5EF4-FFF2-40B4-BE49-F238E27FC236}">
                <a16:creationId xmlns:a16="http://schemas.microsoft.com/office/drawing/2014/main" id="{5F13C928-91B2-4D0C-8483-C6F48514D976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6280460" y="1764368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6" name="Textplatzhalter 3">
            <a:extLst>
              <a:ext uri="{FF2B5EF4-FFF2-40B4-BE49-F238E27FC236}">
                <a16:creationId xmlns:a16="http://schemas.microsoft.com/office/drawing/2014/main" id="{8119FD9A-D6F4-4205-8088-1215C43042BA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6280460" y="1926736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77" name="Textplatzhalter 3">
            <a:extLst>
              <a:ext uri="{FF2B5EF4-FFF2-40B4-BE49-F238E27FC236}">
                <a16:creationId xmlns:a16="http://schemas.microsoft.com/office/drawing/2014/main" id="{3385911E-D95E-47A1-AA93-D97CF5E60F0E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80460" y="2089104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78" name="Textplatzhalter 3">
            <a:extLst>
              <a:ext uri="{FF2B5EF4-FFF2-40B4-BE49-F238E27FC236}">
                <a16:creationId xmlns:a16="http://schemas.microsoft.com/office/drawing/2014/main" id="{D42F793A-F270-4C55-A74D-FD6167C120C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6280460" y="2251472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79" name="Textplatzhalter 3">
            <a:extLst>
              <a:ext uri="{FF2B5EF4-FFF2-40B4-BE49-F238E27FC236}">
                <a16:creationId xmlns:a16="http://schemas.microsoft.com/office/drawing/2014/main" id="{ED014D67-D4FB-4476-ADCA-2DC3E898311B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80460" y="2413840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80" name="Textplatzhalter 3">
            <a:extLst>
              <a:ext uri="{FF2B5EF4-FFF2-40B4-BE49-F238E27FC236}">
                <a16:creationId xmlns:a16="http://schemas.microsoft.com/office/drawing/2014/main" id="{FECCC8EC-66B3-432D-B93D-C924181DC1C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6460460" y="2413840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81" name="Textplatzhalter 3">
            <a:extLst>
              <a:ext uri="{FF2B5EF4-FFF2-40B4-BE49-F238E27FC236}">
                <a16:creationId xmlns:a16="http://schemas.microsoft.com/office/drawing/2014/main" id="{750A49D2-A114-4ADF-A5CC-3D82AAEFF978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6280460" y="2576208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82" name="Textplatzhalter 3">
            <a:extLst>
              <a:ext uri="{FF2B5EF4-FFF2-40B4-BE49-F238E27FC236}">
                <a16:creationId xmlns:a16="http://schemas.microsoft.com/office/drawing/2014/main" id="{4B7ECDE8-4B43-48A7-8807-050DFBC32F4B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6460460" y="2576208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83" name="Textplatzhalter 3">
            <a:extLst>
              <a:ext uri="{FF2B5EF4-FFF2-40B4-BE49-F238E27FC236}">
                <a16:creationId xmlns:a16="http://schemas.microsoft.com/office/drawing/2014/main" id="{99DE85E7-A032-40B4-878B-C3CE61A8CA6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6280460" y="2738578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84" name="Textplatzhalter 3">
            <a:extLst>
              <a:ext uri="{FF2B5EF4-FFF2-40B4-BE49-F238E27FC236}">
                <a16:creationId xmlns:a16="http://schemas.microsoft.com/office/drawing/2014/main" id="{F96DE20B-4923-4738-A208-8941C2E591EE}"/>
              </a:ext>
            </a:extLst>
          </p:cNvPr>
          <p:cNvSpPr>
            <a:spLocks noGrp="1"/>
          </p:cNvSpPr>
          <p:nvPr>
            <p:ph type="body" sz="quarter" idx="77" hasCustomPrompt="1"/>
          </p:nvPr>
        </p:nvSpPr>
        <p:spPr>
          <a:xfrm>
            <a:off x="6460460" y="2738578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85" name="Textplatzhalter 3">
            <a:extLst>
              <a:ext uri="{FF2B5EF4-FFF2-40B4-BE49-F238E27FC236}">
                <a16:creationId xmlns:a16="http://schemas.microsoft.com/office/drawing/2014/main" id="{D37437D5-CFBE-4B60-9D8F-6D6D0FF1BD8B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6280460" y="3233980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86" name="Textplatzhalter 3">
            <a:extLst>
              <a:ext uri="{FF2B5EF4-FFF2-40B4-BE49-F238E27FC236}">
                <a16:creationId xmlns:a16="http://schemas.microsoft.com/office/drawing/2014/main" id="{6FB91E31-6F7C-43D2-B123-BBD53D337ECF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6280460" y="3396348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7" name="Textplatzhalter 3">
            <a:extLst>
              <a:ext uri="{FF2B5EF4-FFF2-40B4-BE49-F238E27FC236}">
                <a16:creationId xmlns:a16="http://schemas.microsoft.com/office/drawing/2014/main" id="{27BC558D-7AFB-4C5F-BB10-452C74DC59C0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6280460" y="3558716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88" name="Textplatzhalter 3">
            <a:extLst>
              <a:ext uri="{FF2B5EF4-FFF2-40B4-BE49-F238E27FC236}">
                <a16:creationId xmlns:a16="http://schemas.microsoft.com/office/drawing/2014/main" id="{593AAA8F-9725-41AB-983F-078DBAFA2114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6280460" y="3721084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Stadt</a:t>
            </a:r>
          </a:p>
        </p:txBody>
      </p:sp>
      <p:sp>
        <p:nvSpPr>
          <p:cNvPr id="89" name="Textplatzhalter 3">
            <a:extLst>
              <a:ext uri="{FF2B5EF4-FFF2-40B4-BE49-F238E27FC236}">
                <a16:creationId xmlns:a16="http://schemas.microsoft.com/office/drawing/2014/main" id="{04C56A35-8E41-4EBA-9942-F93B868D8027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6280460" y="3883452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90" name="Textplatzhalter 3">
            <a:extLst>
              <a:ext uri="{FF2B5EF4-FFF2-40B4-BE49-F238E27FC236}">
                <a16:creationId xmlns:a16="http://schemas.microsoft.com/office/drawing/2014/main" id="{2DBBC373-D2BD-4703-A0F5-C3B6033E2B80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6460460" y="3883452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91" name="Textplatzhalter 3">
            <a:extLst>
              <a:ext uri="{FF2B5EF4-FFF2-40B4-BE49-F238E27FC236}">
                <a16:creationId xmlns:a16="http://schemas.microsoft.com/office/drawing/2014/main" id="{50F7672D-4307-498C-A4AE-DDEDFC56637A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6280460" y="4045820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92" name="Textplatzhalter 3">
            <a:extLst>
              <a:ext uri="{FF2B5EF4-FFF2-40B4-BE49-F238E27FC236}">
                <a16:creationId xmlns:a16="http://schemas.microsoft.com/office/drawing/2014/main" id="{8A5E011D-A0CB-4F63-A29D-619128D49D9E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6460460" y="4045820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93" name="Textplatzhalter 3">
            <a:extLst>
              <a:ext uri="{FF2B5EF4-FFF2-40B4-BE49-F238E27FC236}">
                <a16:creationId xmlns:a16="http://schemas.microsoft.com/office/drawing/2014/main" id="{A588262D-57E2-4EDF-ADB0-E4B8ED83E546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6280460" y="4208190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94" name="Textplatzhalter 3">
            <a:extLst>
              <a:ext uri="{FF2B5EF4-FFF2-40B4-BE49-F238E27FC236}">
                <a16:creationId xmlns:a16="http://schemas.microsoft.com/office/drawing/2014/main" id="{3B4B16B3-923A-429C-93E8-4DF1FAD0AF22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6460460" y="4208190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95" name="Textplatzhalter 3">
            <a:extLst>
              <a:ext uri="{FF2B5EF4-FFF2-40B4-BE49-F238E27FC236}">
                <a16:creationId xmlns:a16="http://schemas.microsoft.com/office/drawing/2014/main" id="{4759891F-916C-4A9A-9958-A6C983E80198}"/>
              </a:ext>
            </a:extLst>
          </p:cNvPr>
          <p:cNvSpPr>
            <a:spLocks noGrp="1"/>
          </p:cNvSpPr>
          <p:nvPr>
            <p:ph type="body" sz="quarter" idx="88"/>
          </p:nvPr>
        </p:nvSpPr>
        <p:spPr>
          <a:xfrm>
            <a:off x="6280460" y="4701315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96" name="Textplatzhalter 3">
            <a:extLst>
              <a:ext uri="{FF2B5EF4-FFF2-40B4-BE49-F238E27FC236}">
                <a16:creationId xmlns:a16="http://schemas.microsoft.com/office/drawing/2014/main" id="{543179A2-7CB4-4643-B113-7C86B5BFD014}"/>
              </a:ext>
            </a:extLst>
          </p:cNvPr>
          <p:cNvSpPr>
            <a:spLocks noGrp="1"/>
          </p:cNvSpPr>
          <p:nvPr>
            <p:ph type="body" sz="quarter" idx="89"/>
          </p:nvPr>
        </p:nvSpPr>
        <p:spPr>
          <a:xfrm>
            <a:off x="6280460" y="4863683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7" name="Textplatzhalter 3">
            <a:extLst>
              <a:ext uri="{FF2B5EF4-FFF2-40B4-BE49-F238E27FC236}">
                <a16:creationId xmlns:a16="http://schemas.microsoft.com/office/drawing/2014/main" id="{8E3AAB19-50B9-4BA5-ACBF-1B7F8AA4B2CC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6280460" y="5026051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Straße</a:t>
            </a:r>
          </a:p>
        </p:txBody>
      </p:sp>
      <p:sp>
        <p:nvSpPr>
          <p:cNvPr id="98" name="Textplatzhalter 3">
            <a:extLst>
              <a:ext uri="{FF2B5EF4-FFF2-40B4-BE49-F238E27FC236}">
                <a16:creationId xmlns:a16="http://schemas.microsoft.com/office/drawing/2014/main" id="{C59D6CED-2EE8-44F1-B302-473D05371992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6280460" y="5188419"/>
            <a:ext cx="2413247" cy="270366"/>
          </a:xfrm>
        </p:spPr>
        <p:txBody>
          <a:bodyPr tIns="0" anchor="t"/>
          <a:lstStyle>
            <a:lvl1pPr algn="l">
              <a:spcAft>
                <a:spcPts val="300"/>
              </a:spcAft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PLZ </a:t>
            </a:r>
          </a:p>
          <a:p>
            <a:pPr lvl="0"/>
            <a:r>
              <a:rPr lang="de-DE" dirty="0"/>
              <a:t>Stadt</a:t>
            </a:r>
          </a:p>
        </p:txBody>
      </p:sp>
      <p:sp>
        <p:nvSpPr>
          <p:cNvPr id="99" name="Textplatzhalter 3">
            <a:extLst>
              <a:ext uri="{FF2B5EF4-FFF2-40B4-BE49-F238E27FC236}">
                <a16:creationId xmlns:a16="http://schemas.microsoft.com/office/drawing/2014/main" id="{B5C44FEC-2A80-4496-BF78-55BBE2FB34EF}"/>
              </a:ext>
            </a:extLst>
          </p:cNvPr>
          <p:cNvSpPr>
            <a:spLocks noGrp="1"/>
          </p:cNvSpPr>
          <p:nvPr>
            <p:ph type="body" sz="quarter" idx="92" hasCustomPrompt="1"/>
          </p:nvPr>
        </p:nvSpPr>
        <p:spPr>
          <a:xfrm>
            <a:off x="6280460" y="5544509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100" name="Textplatzhalter 3">
            <a:extLst>
              <a:ext uri="{FF2B5EF4-FFF2-40B4-BE49-F238E27FC236}">
                <a16:creationId xmlns:a16="http://schemas.microsoft.com/office/drawing/2014/main" id="{1BA37DE2-A9F1-4C75-AEA0-D699B6D61F8B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6460460" y="5544509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101" name="Textplatzhalter 3">
            <a:extLst>
              <a:ext uri="{FF2B5EF4-FFF2-40B4-BE49-F238E27FC236}">
                <a16:creationId xmlns:a16="http://schemas.microsoft.com/office/drawing/2014/main" id="{64B10AB4-90D4-4B4F-8A18-B86711E8EEE8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6280460" y="5706877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102" name="Textplatzhalter 3">
            <a:extLst>
              <a:ext uri="{FF2B5EF4-FFF2-40B4-BE49-F238E27FC236}">
                <a16:creationId xmlns:a16="http://schemas.microsoft.com/office/drawing/2014/main" id="{7B472425-3676-460A-A403-A2BDBE3CF0D9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6460460" y="5706877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103" name="Textplatzhalter 3">
            <a:extLst>
              <a:ext uri="{FF2B5EF4-FFF2-40B4-BE49-F238E27FC236}">
                <a16:creationId xmlns:a16="http://schemas.microsoft.com/office/drawing/2014/main" id="{74B3BBFB-CE6C-40A6-94CE-53479CA487EC}"/>
              </a:ext>
            </a:extLst>
          </p:cNvPr>
          <p:cNvSpPr>
            <a:spLocks noGrp="1"/>
          </p:cNvSpPr>
          <p:nvPr>
            <p:ph type="body" sz="quarter" idx="96" hasCustomPrompt="1"/>
          </p:nvPr>
        </p:nvSpPr>
        <p:spPr>
          <a:xfrm>
            <a:off x="6280460" y="5869247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104" name="Textplatzhalter 3">
            <a:extLst>
              <a:ext uri="{FF2B5EF4-FFF2-40B4-BE49-F238E27FC236}">
                <a16:creationId xmlns:a16="http://schemas.microsoft.com/office/drawing/2014/main" id="{7EC583B9-EF1E-4180-A1FE-117B1EC1AA0C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6460460" y="5869247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105" name="Textplatzhalter 3">
            <a:extLst>
              <a:ext uri="{FF2B5EF4-FFF2-40B4-BE49-F238E27FC236}">
                <a16:creationId xmlns:a16="http://schemas.microsoft.com/office/drawing/2014/main" id="{CD419293-1950-473F-99E2-B47B49F5474F}"/>
              </a:ext>
            </a:extLst>
          </p:cNvPr>
          <p:cNvSpPr>
            <a:spLocks noGrp="1"/>
          </p:cNvSpPr>
          <p:nvPr>
            <p:ph type="body" sz="quarter" idx="98"/>
          </p:nvPr>
        </p:nvSpPr>
        <p:spPr>
          <a:xfrm>
            <a:off x="9059616" y="1764368"/>
            <a:ext cx="2413247" cy="108000"/>
          </a:xfrm>
        </p:spPr>
        <p:txBody>
          <a:bodyPr tIns="0" anchor="t"/>
          <a:lstStyle>
            <a:lvl1pPr algn="l">
              <a:defRPr sz="900">
                <a:solidFill>
                  <a:schemeClr val="bg1"/>
                </a:solidFill>
              </a:defRPr>
            </a:lvl1pPr>
            <a:lvl2pPr algn="l">
              <a:defRPr sz="900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6" name="Textplatzhalter 3">
            <a:extLst>
              <a:ext uri="{FF2B5EF4-FFF2-40B4-BE49-F238E27FC236}">
                <a16:creationId xmlns:a16="http://schemas.microsoft.com/office/drawing/2014/main" id="{1A60B90A-BFA3-4E37-8598-0678D2AD2BB1}"/>
              </a:ext>
            </a:extLst>
          </p:cNvPr>
          <p:cNvSpPr>
            <a:spLocks noGrp="1"/>
          </p:cNvSpPr>
          <p:nvPr>
            <p:ph type="body" sz="quarter" idx="99"/>
          </p:nvPr>
        </p:nvSpPr>
        <p:spPr>
          <a:xfrm>
            <a:off x="9059616" y="1926736"/>
            <a:ext cx="2412000" cy="108000"/>
          </a:xfrm>
        </p:spPr>
        <p:txBody>
          <a:bodyPr tIns="0" anchor="t"/>
          <a:lstStyle>
            <a:lvl1pPr algn="l">
              <a:defRPr sz="900" b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7" name="Textplatzhalter 3">
            <a:extLst>
              <a:ext uri="{FF2B5EF4-FFF2-40B4-BE49-F238E27FC236}">
                <a16:creationId xmlns:a16="http://schemas.microsoft.com/office/drawing/2014/main" id="{71473230-FCE4-488E-809E-F759B7EF8859}"/>
              </a:ext>
            </a:extLst>
          </p:cNvPr>
          <p:cNvSpPr>
            <a:spLocks noGrp="1"/>
          </p:cNvSpPr>
          <p:nvPr>
            <p:ph type="body" sz="quarter" idx="100" hasCustomPrompt="1"/>
          </p:nvPr>
        </p:nvSpPr>
        <p:spPr>
          <a:xfrm>
            <a:off x="9059616" y="2086615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08" name="Textplatzhalter 3">
            <a:extLst>
              <a:ext uri="{FF2B5EF4-FFF2-40B4-BE49-F238E27FC236}">
                <a16:creationId xmlns:a16="http://schemas.microsoft.com/office/drawing/2014/main" id="{B8ED6208-53D5-4F0E-B95B-298A0E031345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9059616" y="2248983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09" name="Textplatzhalter 3">
            <a:extLst>
              <a:ext uri="{FF2B5EF4-FFF2-40B4-BE49-F238E27FC236}">
                <a16:creationId xmlns:a16="http://schemas.microsoft.com/office/drawing/2014/main" id="{5EF8315B-955E-4A94-8878-BC46B370433E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9059616" y="2896246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</a:t>
            </a:r>
          </a:p>
        </p:txBody>
      </p:sp>
      <p:sp>
        <p:nvSpPr>
          <p:cNvPr id="110" name="Textplatzhalter 3">
            <a:extLst>
              <a:ext uri="{FF2B5EF4-FFF2-40B4-BE49-F238E27FC236}">
                <a16:creationId xmlns:a16="http://schemas.microsoft.com/office/drawing/2014/main" id="{6646E3E4-BFB3-4ED5-94B4-D3E6EF77210B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9239616" y="2896246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111" name="Textplatzhalter 3">
            <a:extLst>
              <a:ext uri="{FF2B5EF4-FFF2-40B4-BE49-F238E27FC236}">
                <a16:creationId xmlns:a16="http://schemas.microsoft.com/office/drawing/2014/main" id="{402E2723-7BE3-4604-9AA7-9642AEFCA1B9}"/>
              </a:ext>
            </a:extLst>
          </p:cNvPr>
          <p:cNvSpPr>
            <a:spLocks noGrp="1"/>
          </p:cNvSpPr>
          <p:nvPr>
            <p:ph type="body" sz="quarter" idx="104" hasCustomPrompt="1"/>
          </p:nvPr>
        </p:nvSpPr>
        <p:spPr>
          <a:xfrm>
            <a:off x="9059616" y="3058614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F</a:t>
            </a:r>
          </a:p>
        </p:txBody>
      </p:sp>
      <p:sp>
        <p:nvSpPr>
          <p:cNvPr id="112" name="Textplatzhalter 3">
            <a:extLst>
              <a:ext uri="{FF2B5EF4-FFF2-40B4-BE49-F238E27FC236}">
                <a16:creationId xmlns:a16="http://schemas.microsoft.com/office/drawing/2014/main" id="{448FE543-A9BF-4B7A-9DDC-AD3C1A0059DE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9239616" y="3058614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+XX XX XXXXX-X</a:t>
            </a:r>
          </a:p>
        </p:txBody>
      </p:sp>
      <p:sp>
        <p:nvSpPr>
          <p:cNvPr id="113" name="Textplatzhalter 3">
            <a:extLst>
              <a:ext uri="{FF2B5EF4-FFF2-40B4-BE49-F238E27FC236}">
                <a16:creationId xmlns:a16="http://schemas.microsoft.com/office/drawing/2014/main" id="{1AA263BE-533F-4635-A887-8FAA95CF23EC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9059616" y="3220984"/>
            <a:ext cx="180000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E</a:t>
            </a:r>
          </a:p>
        </p:txBody>
      </p:sp>
      <p:sp>
        <p:nvSpPr>
          <p:cNvPr id="114" name="Textplatzhalter 3">
            <a:extLst>
              <a:ext uri="{FF2B5EF4-FFF2-40B4-BE49-F238E27FC236}">
                <a16:creationId xmlns:a16="http://schemas.microsoft.com/office/drawing/2014/main" id="{2C61DCC7-59E4-4524-A2CF-D01EBDC00C92}"/>
              </a:ext>
            </a:extLst>
          </p:cNvPr>
          <p:cNvSpPr>
            <a:spLocks noGrp="1"/>
          </p:cNvSpPr>
          <p:nvPr>
            <p:ph type="body" sz="quarter" idx="107" hasCustomPrompt="1"/>
          </p:nvPr>
        </p:nvSpPr>
        <p:spPr>
          <a:xfrm>
            <a:off x="9239616" y="3220984"/>
            <a:ext cx="2231999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bblaw-berlin@bblaw.com</a:t>
            </a:r>
          </a:p>
        </p:txBody>
      </p:sp>
      <p:sp>
        <p:nvSpPr>
          <p:cNvPr id="145" name="Textplatzhalter 3">
            <a:extLst>
              <a:ext uri="{FF2B5EF4-FFF2-40B4-BE49-F238E27FC236}">
                <a16:creationId xmlns:a16="http://schemas.microsoft.com/office/drawing/2014/main" id="{194D5807-C66D-491C-851F-D972B2EE8196}"/>
              </a:ext>
            </a:extLst>
          </p:cNvPr>
          <p:cNvSpPr>
            <a:spLocks noGrp="1"/>
          </p:cNvSpPr>
          <p:nvPr>
            <p:ph type="body" sz="quarter" idx="138" hasCustomPrompt="1"/>
          </p:nvPr>
        </p:nvSpPr>
        <p:spPr>
          <a:xfrm>
            <a:off x="9059616" y="2413840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46" name="Textplatzhalter 3">
            <a:extLst>
              <a:ext uri="{FF2B5EF4-FFF2-40B4-BE49-F238E27FC236}">
                <a16:creationId xmlns:a16="http://schemas.microsoft.com/office/drawing/2014/main" id="{8B787ECD-9C97-402C-A24B-9202BEB9B3F6}"/>
              </a:ext>
            </a:extLst>
          </p:cNvPr>
          <p:cNvSpPr>
            <a:spLocks noGrp="1"/>
          </p:cNvSpPr>
          <p:nvPr>
            <p:ph type="body" sz="quarter" idx="139" hasCustomPrompt="1"/>
          </p:nvPr>
        </p:nvSpPr>
        <p:spPr>
          <a:xfrm>
            <a:off x="9059616" y="2576208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147" name="Textplatzhalter 3">
            <a:extLst>
              <a:ext uri="{FF2B5EF4-FFF2-40B4-BE49-F238E27FC236}">
                <a16:creationId xmlns:a16="http://schemas.microsoft.com/office/drawing/2014/main" id="{35A1E027-6DE6-4AEC-B0AA-B2FF697F775A}"/>
              </a:ext>
            </a:extLst>
          </p:cNvPr>
          <p:cNvSpPr>
            <a:spLocks noGrp="1"/>
          </p:cNvSpPr>
          <p:nvPr>
            <p:ph type="body" sz="quarter" idx="140" hasCustomPrompt="1"/>
          </p:nvPr>
        </p:nvSpPr>
        <p:spPr>
          <a:xfrm>
            <a:off x="9059616" y="2735683"/>
            <a:ext cx="2413247" cy="108000"/>
          </a:xfrm>
        </p:spPr>
        <p:txBody>
          <a:bodyPr tIns="0" anchor="t"/>
          <a:lstStyle>
            <a:lvl1pPr algn="l">
              <a:defRPr sz="900" b="0" cap="none" spc="0" baseline="0">
                <a:solidFill>
                  <a:schemeClr val="bg1"/>
                </a:solidFill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dirty="0"/>
              <a:t>Text</a:t>
            </a:r>
          </a:p>
        </p:txBody>
      </p:sp>
      <p:pic>
        <p:nvPicPr>
          <p:cNvPr id="116" name="Grafik 1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4" y="5731826"/>
            <a:ext cx="1259633" cy="1129004"/>
          </a:xfrm>
          <a:prstGeom prst="rect">
            <a:avLst/>
          </a:prstGeom>
        </p:spPr>
      </p:pic>
      <p:pic>
        <p:nvPicPr>
          <p:cNvPr id="117" name="Grafik 1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7413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1236921D-785A-46CD-AB8A-8D500253F2F5}"/>
              </a:ext>
            </a:extLst>
          </p:cNvPr>
          <p:cNvSpPr/>
          <p:nvPr userDrawn="1"/>
        </p:nvSpPr>
        <p:spPr>
          <a:xfrm>
            <a:off x="717550" y="5944963"/>
            <a:ext cx="4943999" cy="370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ts val="1400"/>
              </a:lnSpc>
            </a:pP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БЕРЛИН</a:t>
            </a:r>
            <a:r>
              <a:rPr lang="en-US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БРЮССЕЛЬ</a:t>
            </a:r>
            <a:r>
              <a:rPr lang="en-US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ГАМБУРГ</a:t>
            </a:r>
            <a:r>
              <a:rPr lang="en-US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ДЮССЕЛЬДОРФ</a:t>
            </a:r>
            <a:r>
              <a:rPr lang="en-US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МОСКВА</a:t>
            </a:r>
            <a:r>
              <a:rPr lang="en-US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МЮНХЕН</a:t>
            </a:r>
            <a:r>
              <a:rPr lang="en-US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 </a:t>
            </a:r>
            <a:endParaRPr lang="ru-RU" sz="900" cap="all" spc="50" dirty="0">
              <a:solidFill>
                <a:srgbClr val="003E77"/>
              </a:solidFill>
              <a:cs typeface="Arial" panose="020B0604020202020204" pitchFamily="34" charset="0"/>
            </a:endParaRPr>
          </a:p>
          <a:p>
            <a:pPr>
              <a:lnSpc>
                <a:spcPts val="1400"/>
              </a:lnSpc>
            </a:pP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ПЕКИН</a:t>
            </a:r>
            <a:r>
              <a:rPr lang="en-US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 | </a:t>
            </a:r>
            <a:r>
              <a:rPr lang="ru-RU" sz="900" cap="all" spc="50" dirty="0">
                <a:solidFill>
                  <a:srgbClr val="003E77"/>
                </a:solidFill>
                <a:cs typeface="Arial" panose="020B0604020202020204" pitchFamily="34" charset="0"/>
              </a:rPr>
              <a:t>ФРАНКФУРТ-НА-МАЙНЕ</a:t>
            </a:r>
            <a:endParaRPr lang="en-US" sz="900" cap="all" spc="50" dirty="0">
              <a:solidFill>
                <a:srgbClr val="003E77"/>
              </a:solidFill>
              <a:cs typeface="Arial" panose="020B0604020202020204" pitchFamily="34" charset="0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688B46C6-B9CC-46C8-9953-98C0986125B7}"/>
              </a:ext>
            </a:extLst>
          </p:cNvPr>
          <p:cNvSpPr/>
          <p:nvPr userDrawn="1"/>
        </p:nvSpPr>
        <p:spPr>
          <a:xfrm>
            <a:off x="717550" y="6426636"/>
            <a:ext cx="4943999" cy="2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>
              <a:lnSpc>
                <a:spcPts val="1400"/>
              </a:lnSpc>
            </a:pPr>
            <a:r>
              <a:rPr lang="de-DE" sz="1200" b="1" cap="all" spc="100" dirty="0">
                <a:solidFill>
                  <a:srgbClr val="003E77"/>
                </a:solidFill>
              </a:rPr>
              <a:t>www.Beitenburkhardt.com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88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9541968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62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8" imgH="338" progId="TCLayout.ActiveDocument.1">
                  <p:embed/>
                </p:oleObj>
              </mc:Choice>
              <mc:Fallback>
                <p:oleObj name="think-cell Folie" r:id="rId3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C9A0AC49-C9B3-4EB9-994D-CE55B551CC55}"/>
              </a:ext>
            </a:extLst>
          </p:cNvPr>
          <p:cNvSpPr/>
          <p:nvPr userDrawn="1"/>
        </p:nvSpPr>
        <p:spPr>
          <a:xfrm>
            <a:off x="4" y="-1"/>
            <a:ext cx="12192000" cy="3434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4" y="1906948"/>
            <a:ext cx="5136000" cy="612001"/>
          </a:xfrm>
        </p:spPr>
        <p:txBody>
          <a:bodyPr wrap="none" anchor="t">
            <a:noAutofit/>
          </a:bodyPr>
          <a:lstStyle>
            <a:lvl1pPr algn="l">
              <a:lnSpc>
                <a:spcPct val="100000"/>
              </a:lnSpc>
              <a:defRPr sz="3400" b="1" spc="12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eiten </a:t>
            </a:r>
            <a:br>
              <a:rPr lang="en-US" dirty="0"/>
            </a:br>
            <a:r>
              <a:rPr lang="en-US" dirty="0"/>
              <a:t>Burkhardt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A8AA797-3826-4F4D-8515-0918A91F815D}"/>
              </a:ext>
            </a:extLst>
          </p:cNvPr>
          <p:cNvSpPr/>
          <p:nvPr userDrawn="1"/>
        </p:nvSpPr>
        <p:spPr>
          <a:xfrm>
            <a:off x="720000" y="1618952"/>
            <a:ext cx="5400000" cy="9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56B483E-C980-462D-97DC-55C047CC1931}"/>
              </a:ext>
            </a:extLst>
          </p:cNvPr>
          <p:cNvSpPr/>
          <p:nvPr userDrawn="1"/>
        </p:nvSpPr>
        <p:spPr>
          <a:xfrm>
            <a:off x="4" y="3429000"/>
            <a:ext cx="8784000" cy="900000"/>
          </a:xfrm>
          <a:prstGeom prst="rect">
            <a:avLst/>
          </a:prstGeom>
          <a:solidFill>
            <a:srgbClr val="9C9C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004" y="3429003"/>
            <a:ext cx="5136000" cy="900001"/>
          </a:xfrm>
        </p:spPr>
        <p:txBody>
          <a:bodyPr wrap="none" tIns="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cap="none" spc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Datum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20729" y="4870454"/>
            <a:ext cx="5167313" cy="1027113"/>
          </a:xfrm>
        </p:spPr>
        <p:txBody>
          <a:bodyPr/>
          <a:lstStyle>
            <a:lvl1pPr>
              <a:defRPr b="0" i="0" kern="0" spc="0" baseline="0"/>
            </a:lvl1pPr>
            <a:lvl2pPr>
              <a:defRPr b="0" i="0" kern="0" spc="0" baseline="0"/>
            </a:lvl2pPr>
            <a:lvl3pPr>
              <a:defRPr b="0" i="0" kern="0" spc="0" baseline="0"/>
            </a:lvl3pPr>
            <a:lvl4pPr>
              <a:defRPr b="0" i="0" kern="0" spc="0" baseline="0"/>
            </a:lvl4pPr>
            <a:lvl5pPr>
              <a:defRPr b="0" i="0" kern="0" spc="0" baseline="0"/>
            </a:lvl5pPr>
          </a:lstStyle>
          <a:p>
            <a:pPr lvl="0"/>
            <a:r>
              <a:rPr lang="de-DE" dirty="0"/>
              <a:t>Referent/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583830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2092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38" imgH="338" progId="TCLayout.ActiveDocument.1">
                  <p:embed/>
                </p:oleObj>
              </mc:Choice>
              <mc:Fallback>
                <p:oleObj name="think-cell Folie" r:id="rId3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>
            <a:extLst>
              <a:ext uri="{FF2B5EF4-FFF2-40B4-BE49-F238E27FC236}">
                <a16:creationId xmlns:a16="http://schemas.microsoft.com/office/drawing/2014/main" id="{C9A0AC49-C9B3-4EB9-994D-CE55B551CC55}"/>
              </a:ext>
            </a:extLst>
          </p:cNvPr>
          <p:cNvSpPr/>
          <p:nvPr userDrawn="1"/>
        </p:nvSpPr>
        <p:spPr>
          <a:xfrm>
            <a:off x="4" y="-1"/>
            <a:ext cx="12192000" cy="34344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20004" y="1906948"/>
            <a:ext cx="5136000" cy="612001"/>
          </a:xfrm>
        </p:spPr>
        <p:txBody>
          <a:bodyPr wrap="none" anchor="t">
            <a:noAutofit/>
          </a:bodyPr>
          <a:lstStyle>
            <a:lvl1pPr algn="l">
              <a:lnSpc>
                <a:spcPct val="100000"/>
              </a:lnSpc>
              <a:defRPr sz="3400" b="1" spc="12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apiteltrenner</a:t>
            </a:r>
            <a:endParaRPr lang="en-US" dirty="0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A8AA797-3826-4F4D-8515-0918A91F815D}"/>
              </a:ext>
            </a:extLst>
          </p:cNvPr>
          <p:cNvSpPr/>
          <p:nvPr userDrawn="1"/>
        </p:nvSpPr>
        <p:spPr>
          <a:xfrm>
            <a:off x="720000" y="1618952"/>
            <a:ext cx="5400000" cy="9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56B483E-C980-462D-97DC-55C047CC1931}"/>
              </a:ext>
            </a:extLst>
          </p:cNvPr>
          <p:cNvSpPr/>
          <p:nvPr userDrawn="1"/>
        </p:nvSpPr>
        <p:spPr>
          <a:xfrm>
            <a:off x="4" y="3429000"/>
            <a:ext cx="8784000" cy="90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0004" y="3429003"/>
            <a:ext cx="5136000" cy="900001"/>
          </a:xfrm>
        </p:spPr>
        <p:txBody>
          <a:bodyPr wrap="none" tIns="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cap="none" spc="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 dirty="0"/>
              <a:t>Untertitel</a:t>
            </a:r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9046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0206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 userDrawn="1">
            <p:custDataLst>
              <p:tags r:id="rId2"/>
            </p:custDataLst>
          </p:nvPr>
        </p:nvSpPr>
        <p:spPr>
          <a:xfrm>
            <a:off x="0" y="4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200"/>
              </a:lnSpc>
            </a:pPr>
            <a:endParaRPr lang="de-DE" sz="2400" b="1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F33B075-CEB5-4EAB-8734-48D3EF22973E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783638" y="0"/>
            <a:ext cx="3408362" cy="6858000"/>
          </a:xfrm>
          <a:solidFill>
            <a:schemeClr val="accent5"/>
          </a:solidFill>
        </p:spPr>
        <p:txBody>
          <a:bodyPr tIns="0" bIns="648000" anchor="ctr"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7DBCBE2-4BD6-4072-885D-41F9AE6D2D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999" y="1763999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I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18050635-1AE6-44ED-AF07-F716D0682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6984001" cy="792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5F206850-7AF5-47C4-B54C-636F17582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294007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II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B4EDA23C-7654-4389-A189-2A223294E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999" y="2824019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III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C27E598-4264-4D34-8C58-D6E049D80E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3354027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IV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F0B8657D-338A-4825-8BBB-B7608139A3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9999" y="3884031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FD29DAD5-12A9-4C52-8136-A83681CEFC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9999" y="4414039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I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57871947-95FF-486C-9C4C-1E842089D8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999" y="4944052"/>
            <a:ext cx="410400" cy="410400"/>
          </a:xfrm>
          <a:noFill/>
        </p:spPr>
        <p:txBody>
          <a:bodyPr tIns="0" anchor="ctr"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II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ADAF4D09-4685-4C29-976D-379E0BFCAE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5904" y="176399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Textmasterformat bearbeiten</a:t>
            </a:r>
          </a:p>
        </p:txBody>
      </p:sp>
      <p:sp>
        <p:nvSpPr>
          <p:cNvPr id="24" name="Textplatzhalter 20">
            <a:extLst>
              <a:ext uri="{FF2B5EF4-FFF2-40B4-BE49-F238E27FC236}">
                <a16:creationId xmlns:a16="http://schemas.microsoft.com/office/drawing/2014/main" id="{D5304A5C-B4F3-4438-9E54-00137B9241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5904" y="2294007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5" name="Textplatzhalter 20">
            <a:extLst>
              <a:ext uri="{FF2B5EF4-FFF2-40B4-BE49-F238E27FC236}">
                <a16:creationId xmlns:a16="http://schemas.microsoft.com/office/drawing/2014/main" id="{B76EF237-509B-4FD6-BDC1-C11BA3EF2C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85904" y="282401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Textplatzhalter 20">
            <a:extLst>
              <a:ext uri="{FF2B5EF4-FFF2-40B4-BE49-F238E27FC236}">
                <a16:creationId xmlns:a16="http://schemas.microsoft.com/office/drawing/2014/main" id="{724E0103-4AAE-4272-B0F4-B3876221FC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5904" y="3354027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7" name="Textplatzhalter 20">
            <a:extLst>
              <a:ext uri="{FF2B5EF4-FFF2-40B4-BE49-F238E27FC236}">
                <a16:creationId xmlns:a16="http://schemas.microsoft.com/office/drawing/2014/main" id="{29201282-4D9C-4360-B2B3-0C4772A0428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5904" y="3884031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8" name="Textplatzhalter 20">
            <a:extLst>
              <a:ext uri="{FF2B5EF4-FFF2-40B4-BE49-F238E27FC236}">
                <a16:creationId xmlns:a16="http://schemas.microsoft.com/office/drawing/2014/main" id="{A32C05CD-960E-4F01-A1CB-CBA9F0C12F9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5904" y="441403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9" name="Textplatzhalter 20">
            <a:extLst>
              <a:ext uri="{FF2B5EF4-FFF2-40B4-BE49-F238E27FC236}">
                <a16:creationId xmlns:a16="http://schemas.microsoft.com/office/drawing/2014/main" id="{5644FC63-1A5A-41B0-878B-4988056C545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5904" y="4944052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0" name="Textplatzhalter 20">
            <a:extLst>
              <a:ext uri="{FF2B5EF4-FFF2-40B4-BE49-F238E27FC236}">
                <a16:creationId xmlns:a16="http://schemas.microsoft.com/office/drawing/2014/main" id="{84412FD8-546C-4BAE-B20E-89DC4F387C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93600" y="176399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32" name="Textplatzhalter 20">
            <a:extLst>
              <a:ext uri="{FF2B5EF4-FFF2-40B4-BE49-F238E27FC236}">
                <a16:creationId xmlns:a16="http://schemas.microsoft.com/office/drawing/2014/main" id="{8842EE9F-92C2-4E41-8B31-C8E83EBA2E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93600" y="2294007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33" name="Textplatzhalter 20">
            <a:extLst>
              <a:ext uri="{FF2B5EF4-FFF2-40B4-BE49-F238E27FC236}">
                <a16:creationId xmlns:a16="http://schemas.microsoft.com/office/drawing/2014/main" id="{0F90BCA9-CB13-443E-A9D6-ACB1B6E29E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93600" y="282401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34" name="Textplatzhalter 20">
            <a:extLst>
              <a:ext uri="{FF2B5EF4-FFF2-40B4-BE49-F238E27FC236}">
                <a16:creationId xmlns:a16="http://schemas.microsoft.com/office/drawing/2014/main" id="{33231675-FAFD-4D47-B349-E3DE2C5882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93600" y="3354027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35" name="Textplatzhalter 20">
            <a:extLst>
              <a:ext uri="{FF2B5EF4-FFF2-40B4-BE49-F238E27FC236}">
                <a16:creationId xmlns:a16="http://schemas.microsoft.com/office/drawing/2014/main" id="{C3CFDF56-750F-4E20-AED0-847DA36C08D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3600" y="3884031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36" name="Textplatzhalter 20">
            <a:extLst>
              <a:ext uri="{FF2B5EF4-FFF2-40B4-BE49-F238E27FC236}">
                <a16:creationId xmlns:a16="http://schemas.microsoft.com/office/drawing/2014/main" id="{94267A60-874B-4852-BD2E-EBDDF4592FC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93600" y="441403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</a:t>
            </a:r>
          </a:p>
        </p:txBody>
      </p:sp>
      <p:sp>
        <p:nvSpPr>
          <p:cNvPr id="37" name="Textplatzhalter 20">
            <a:extLst>
              <a:ext uri="{FF2B5EF4-FFF2-40B4-BE49-F238E27FC236}">
                <a16:creationId xmlns:a16="http://schemas.microsoft.com/office/drawing/2014/main" id="{E008922D-28D6-4155-84B4-B8F84F61F8B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93600" y="4944052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</a:t>
            </a:r>
          </a:p>
        </p:txBody>
      </p:sp>
      <p:pic>
        <p:nvPicPr>
          <p:cNvPr id="47" name="Grafik 4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3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3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4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17832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47DBCBE2-4BD6-4072-885D-41F9AE6D2D7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999" y="1763999"/>
            <a:ext cx="410400" cy="410400"/>
          </a:xfrm>
          <a:solidFill>
            <a:schemeClr val="accent1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18050635-1AE6-44ED-AF07-F716D06824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6984001" cy="792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5F206850-7AF5-47C4-B54C-636F17582E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999" y="2294007"/>
            <a:ext cx="410400" cy="410400"/>
          </a:xfrm>
          <a:solidFill>
            <a:srgbClr val="00899C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I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B4EDA23C-7654-4389-A189-2A223294E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999" y="2824019"/>
            <a:ext cx="410400" cy="410400"/>
          </a:xfrm>
          <a:solidFill>
            <a:srgbClr val="4F81BD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II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1C27E598-4264-4D34-8C58-D6E049D80E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3354027"/>
            <a:ext cx="410400" cy="410400"/>
          </a:xfrm>
          <a:solidFill>
            <a:schemeClr val="accent4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IV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F0B8657D-338A-4825-8BBB-B7608139A3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9999" y="3884031"/>
            <a:ext cx="410400" cy="410400"/>
          </a:xfrm>
          <a:solidFill>
            <a:schemeClr val="accent5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FD29DAD5-12A9-4C52-8136-A83681CEFC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9999" y="4414039"/>
            <a:ext cx="410400" cy="410400"/>
          </a:xfrm>
          <a:solidFill>
            <a:schemeClr val="accent6"/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I</a:t>
            </a:r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57871947-95FF-486C-9C4C-1E842089D8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999" y="4944052"/>
            <a:ext cx="410400" cy="410400"/>
          </a:xfrm>
          <a:solidFill>
            <a:schemeClr val="accent6">
              <a:lumMod val="50000"/>
            </a:schemeClr>
          </a:solidFill>
        </p:spPr>
        <p:txBody>
          <a:bodyPr tIns="0"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II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ADAF4D09-4685-4C29-976D-379E0BFCAE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5904" y="176399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4" name="Textplatzhalter 20">
            <a:extLst>
              <a:ext uri="{FF2B5EF4-FFF2-40B4-BE49-F238E27FC236}">
                <a16:creationId xmlns:a16="http://schemas.microsoft.com/office/drawing/2014/main" id="{D5304A5C-B4F3-4438-9E54-00137B92417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85904" y="2294007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5" name="Textplatzhalter 20">
            <a:extLst>
              <a:ext uri="{FF2B5EF4-FFF2-40B4-BE49-F238E27FC236}">
                <a16:creationId xmlns:a16="http://schemas.microsoft.com/office/drawing/2014/main" id="{B76EF237-509B-4FD6-BDC1-C11BA3EF2C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485904" y="282401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6" name="Textplatzhalter 20">
            <a:extLst>
              <a:ext uri="{FF2B5EF4-FFF2-40B4-BE49-F238E27FC236}">
                <a16:creationId xmlns:a16="http://schemas.microsoft.com/office/drawing/2014/main" id="{724E0103-4AAE-4272-B0F4-B3876221FCC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485904" y="3354027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7" name="Textplatzhalter 20">
            <a:extLst>
              <a:ext uri="{FF2B5EF4-FFF2-40B4-BE49-F238E27FC236}">
                <a16:creationId xmlns:a16="http://schemas.microsoft.com/office/drawing/2014/main" id="{29201282-4D9C-4360-B2B3-0C4772A0428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85904" y="3884031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8" name="Textplatzhalter 20">
            <a:extLst>
              <a:ext uri="{FF2B5EF4-FFF2-40B4-BE49-F238E27FC236}">
                <a16:creationId xmlns:a16="http://schemas.microsoft.com/office/drawing/2014/main" id="{A32C05CD-960E-4F01-A1CB-CBA9F0C12F9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485904" y="4414039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29" name="Textplatzhalter 20">
            <a:extLst>
              <a:ext uri="{FF2B5EF4-FFF2-40B4-BE49-F238E27FC236}">
                <a16:creationId xmlns:a16="http://schemas.microsoft.com/office/drawing/2014/main" id="{5644FC63-1A5A-41B0-878B-4988056C545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485904" y="4944052"/>
            <a:ext cx="5379241" cy="410400"/>
          </a:xfrm>
        </p:spPr>
        <p:txBody>
          <a:bodyPr tIns="0" anchor="ctr"/>
          <a:lstStyle>
            <a:lvl1pPr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30" name="Textplatzhalter 20">
            <a:extLst>
              <a:ext uri="{FF2B5EF4-FFF2-40B4-BE49-F238E27FC236}">
                <a16:creationId xmlns:a16="http://schemas.microsoft.com/office/drawing/2014/main" id="{84412FD8-546C-4BAE-B20E-89DC4F387C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293600" y="176399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32" name="Textplatzhalter 20">
            <a:extLst>
              <a:ext uri="{FF2B5EF4-FFF2-40B4-BE49-F238E27FC236}">
                <a16:creationId xmlns:a16="http://schemas.microsoft.com/office/drawing/2014/main" id="{8842EE9F-92C2-4E41-8B31-C8E83EBA2E6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293600" y="2294007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2</a:t>
            </a:r>
          </a:p>
        </p:txBody>
      </p:sp>
      <p:sp>
        <p:nvSpPr>
          <p:cNvPr id="33" name="Textplatzhalter 20">
            <a:extLst>
              <a:ext uri="{FF2B5EF4-FFF2-40B4-BE49-F238E27FC236}">
                <a16:creationId xmlns:a16="http://schemas.microsoft.com/office/drawing/2014/main" id="{0F90BCA9-CB13-443E-A9D6-ACB1B6E29E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93600" y="282401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3</a:t>
            </a:r>
          </a:p>
        </p:txBody>
      </p:sp>
      <p:sp>
        <p:nvSpPr>
          <p:cNvPr id="34" name="Textplatzhalter 20">
            <a:extLst>
              <a:ext uri="{FF2B5EF4-FFF2-40B4-BE49-F238E27FC236}">
                <a16:creationId xmlns:a16="http://schemas.microsoft.com/office/drawing/2014/main" id="{33231675-FAFD-4D47-B349-E3DE2C5882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293600" y="3354027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4</a:t>
            </a:r>
          </a:p>
        </p:txBody>
      </p:sp>
      <p:sp>
        <p:nvSpPr>
          <p:cNvPr id="35" name="Textplatzhalter 20">
            <a:extLst>
              <a:ext uri="{FF2B5EF4-FFF2-40B4-BE49-F238E27FC236}">
                <a16:creationId xmlns:a16="http://schemas.microsoft.com/office/drawing/2014/main" id="{C3CFDF56-750F-4E20-AED0-847DA36C08D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3600" y="3884031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5</a:t>
            </a:r>
          </a:p>
        </p:txBody>
      </p:sp>
      <p:sp>
        <p:nvSpPr>
          <p:cNvPr id="36" name="Textplatzhalter 20">
            <a:extLst>
              <a:ext uri="{FF2B5EF4-FFF2-40B4-BE49-F238E27FC236}">
                <a16:creationId xmlns:a16="http://schemas.microsoft.com/office/drawing/2014/main" id="{94267A60-874B-4852-BD2E-EBDDF4592FC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93600" y="4414039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6</a:t>
            </a:r>
          </a:p>
        </p:txBody>
      </p:sp>
      <p:sp>
        <p:nvSpPr>
          <p:cNvPr id="37" name="Textplatzhalter 20">
            <a:extLst>
              <a:ext uri="{FF2B5EF4-FFF2-40B4-BE49-F238E27FC236}">
                <a16:creationId xmlns:a16="http://schemas.microsoft.com/office/drawing/2014/main" id="{E008922D-28D6-4155-84B4-B8F84F61F8B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293600" y="4944052"/>
            <a:ext cx="410400" cy="410400"/>
          </a:xfrm>
        </p:spPr>
        <p:txBody>
          <a:bodyPr tIns="0" rIns="72000" anchor="ctr"/>
          <a:lstStyle>
            <a:lvl1pPr algn="r">
              <a:defRPr cap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07</a:t>
            </a:r>
          </a:p>
        </p:txBody>
      </p:sp>
      <p:pic>
        <p:nvPicPr>
          <p:cNvPr id="47" name="Grafik 4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sp>
        <p:nvSpPr>
          <p:cNvPr id="3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3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4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38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8948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33704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latzhalter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0" y="1655999"/>
            <a:ext cx="5194784" cy="4140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35ACC148-410C-4F10-8110-9462A4FDE40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92919" y="1655999"/>
            <a:ext cx="5194784" cy="4140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348407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content 2 column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720000" y="1655999"/>
            <a:ext cx="4140000" cy="4140000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>
              <a:lnSpc>
                <a:spcPct val="150000"/>
              </a:lnSpc>
              <a:defRPr sz="1700"/>
            </a:lvl4pPr>
            <a:lvl5pPr>
              <a:lnSpc>
                <a:spcPct val="150000"/>
              </a:lnSpc>
              <a:defRPr sz="17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title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F7BA4690-8A97-4744-8009-CC185E1981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BEITEN BURKHARDT | 28/05/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801FC98-A3D8-45C1-8E79-A0AF72AA5A3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003E77"/>
                </a:solidFill>
              </a:rPr>
              <a:t>| Title of Presentation OR Event</a:t>
            </a:r>
            <a:endParaRPr lang="de-DE" dirty="0">
              <a:solidFill>
                <a:srgbClr val="003E77"/>
              </a:solidFill>
            </a:endParaRP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86E9BDB6-EFB2-449E-BAA5-F7E864ECD6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35ACC148-410C-4F10-8110-9462A4FDE40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238139" y="1655999"/>
            <a:ext cx="6249568" cy="4140000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>
              <a:lnSpc>
                <a:spcPct val="150000"/>
              </a:lnSpc>
              <a:defRPr sz="1700"/>
            </a:lvl4pPr>
            <a:lvl5pPr>
              <a:lnSpc>
                <a:spcPct val="150000"/>
              </a:lnSpc>
              <a:defRPr sz="17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24871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3" y="1655999"/>
            <a:ext cx="10751987" cy="4140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>
              <a:lnSpc>
                <a:spcPct val="150000"/>
              </a:lnSpc>
              <a:defRPr/>
            </a:lvl4pPr>
            <a:lvl5pPr>
              <a:lnSpc>
                <a:spcPct val="150000"/>
              </a:lnSpc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</a:t>
            </a:r>
            <a:r>
              <a:rPr lang="ru-RU" dirty="0">
                <a:solidFill>
                  <a:srgbClr val="003E77"/>
                </a:solidFill>
              </a:rPr>
              <a:t>15</a:t>
            </a:r>
            <a:r>
              <a:rPr lang="de-DE" dirty="0">
                <a:solidFill>
                  <a:srgbClr val="003E77"/>
                </a:solidFill>
              </a:rPr>
              <a:t>.</a:t>
            </a:r>
            <a:r>
              <a:rPr lang="ru-RU" dirty="0">
                <a:solidFill>
                  <a:srgbClr val="003E77"/>
                </a:solidFill>
              </a:rPr>
              <a:t>12</a:t>
            </a:r>
            <a:r>
              <a:rPr lang="de-DE" dirty="0">
                <a:solidFill>
                  <a:srgbClr val="003E77"/>
                </a:solidFill>
              </a:rPr>
              <a:t>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</a:t>
            </a:r>
            <a:r>
              <a:rPr lang="ru-RU" dirty="0">
                <a:solidFill>
                  <a:srgbClr val="003E77"/>
                </a:solidFill>
              </a:rPr>
              <a:t>Антимонопольное регулирование в Российской Федерации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05336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57627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anzseitig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D573414-ACA0-416B-B1E8-5593828FCBC7}"/>
              </a:ext>
            </a:extLst>
          </p:cNvPr>
          <p:cNvSpPr/>
          <p:nvPr userDrawn="1"/>
        </p:nvSpPr>
        <p:spPr>
          <a:xfrm>
            <a:off x="4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37" name="Titel 36">
            <a:extLst>
              <a:ext uri="{FF2B5EF4-FFF2-40B4-BE49-F238E27FC236}">
                <a16:creationId xmlns:a16="http://schemas.microsoft.com/office/drawing/2014/main" id="{56E0FA34-0AF2-4B8E-9790-24EC1B2FE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E550506-C36C-49C2-82D1-C16C08BCB04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9292" y="1656920"/>
            <a:ext cx="10751987" cy="4140000"/>
          </a:xfrm>
        </p:spPr>
        <p:txBody>
          <a:bodyPr/>
          <a:lstStyle>
            <a:lvl1pPr algn="l">
              <a:spcAft>
                <a:spcPts val="1200"/>
              </a:spcAft>
              <a:defRPr sz="3600" b="0" i="1" cap="none" baseline="0">
                <a:solidFill>
                  <a:schemeClr val="bg1"/>
                </a:solidFill>
              </a:defRPr>
            </a:lvl1pPr>
            <a:lvl2pPr algn="l">
              <a:defRPr b="1" cap="all" spc="60" baseline="0">
                <a:solidFill>
                  <a:schemeClr val="bg1"/>
                </a:solidFill>
              </a:defRPr>
            </a:lvl2pPr>
            <a:lvl3pPr marL="177800" indent="-177800" algn="l">
              <a:buClr>
                <a:schemeClr val="bg1"/>
              </a:buClr>
              <a:buFont typeface="Wingdings" panose="05000000000000000000" pitchFamily="2" charset="2"/>
              <a:buChar char="§"/>
              <a:defRPr cap="none" spc="60" baseline="0">
                <a:solidFill>
                  <a:schemeClr val="bg1"/>
                </a:solidFill>
              </a:defRPr>
            </a:lvl3pPr>
            <a:lvl4pPr algn="l">
              <a:lnSpc>
                <a:spcPct val="15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37721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latzhalter 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3" y="1655999"/>
            <a:ext cx="10751987" cy="414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198698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Platzhalter 2 Spalten 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0" y="1655999"/>
            <a:ext cx="5194784" cy="414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2" name="Inhaltsplatzhalter 7">
            <a:extLst>
              <a:ext uri="{FF2B5EF4-FFF2-40B4-BE49-F238E27FC236}">
                <a16:creationId xmlns:a16="http://schemas.microsoft.com/office/drawing/2014/main" id="{35ACC148-410C-4F10-8110-9462A4FDE40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92923" y="1655999"/>
            <a:ext cx="5184706" cy="414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4197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hlen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E7F38DB-160E-4457-9A09-47BC361978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02" y="1647815"/>
            <a:ext cx="2864577" cy="1466865"/>
          </a:xfrm>
        </p:spPr>
        <p:txBody>
          <a:bodyPr tIns="0"/>
          <a:lstStyle>
            <a:lvl1pPr algn="l">
              <a:defRPr sz="8500"/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55793B-72DF-46FB-BD0D-7ACA802175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9427" y="3420003"/>
            <a:ext cx="2863991" cy="2367785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defRPr sz="1700"/>
            </a:lvl4pPr>
            <a:lvl5pPr marL="354013" indent="-269875">
              <a:lnSpc>
                <a:spcPct val="150000"/>
              </a:lnSpc>
              <a:defRPr sz="1700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83CB1899-849D-4DA3-B596-8968912A29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63707" y="1647815"/>
            <a:ext cx="2864577" cy="1466865"/>
          </a:xfrm>
        </p:spPr>
        <p:txBody>
          <a:bodyPr tIns="0"/>
          <a:lstStyle>
            <a:lvl1pPr algn="l">
              <a:defRPr sz="85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32" name="Textplatzhalter 5">
            <a:extLst>
              <a:ext uri="{FF2B5EF4-FFF2-40B4-BE49-F238E27FC236}">
                <a16:creationId xmlns:a16="http://schemas.microsoft.com/office/drawing/2014/main" id="{B53AB505-F2BA-4167-80DC-A88F00FEC91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63707" y="3420003"/>
            <a:ext cx="2863991" cy="2367785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defRPr sz="1700"/>
            </a:lvl4pPr>
            <a:lvl5pPr marL="354013" indent="-269875">
              <a:lnSpc>
                <a:spcPct val="150000"/>
              </a:lnSpc>
              <a:defRPr sz="17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47CF6758-5BFF-4FAB-BFEB-642AE33CBF6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607409" y="1647815"/>
            <a:ext cx="2864577" cy="1466865"/>
          </a:xfrm>
        </p:spPr>
        <p:txBody>
          <a:bodyPr tIns="0"/>
          <a:lstStyle>
            <a:lvl1pPr algn="l">
              <a:defRPr sz="8500">
                <a:solidFill>
                  <a:srgbClr val="4F81BD"/>
                </a:solidFill>
              </a:defRPr>
            </a:lvl1pPr>
          </a:lstStyle>
          <a:p>
            <a:pPr lvl="0"/>
            <a:r>
              <a:rPr lang="de-DE" dirty="0"/>
              <a:t>XX%</a:t>
            </a:r>
          </a:p>
        </p:txBody>
      </p:sp>
      <p:sp>
        <p:nvSpPr>
          <p:cNvPr id="34" name="Textplatzhalter 5">
            <a:extLst>
              <a:ext uri="{FF2B5EF4-FFF2-40B4-BE49-F238E27FC236}">
                <a16:creationId xmlns:a16="http://schemas.microsoft.com/office/drawing/2014/main" id="{28086083-D834-4197-BDEC-9C1F4476D99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607995" y="3420003"/>
            <a:ext cx="2863991" cy="2367785"/>
          </a:xfrm>
        </p:spPr>
        <p:txBody>
          <a:bodyPr/>
          <a:lstStyle>
            <a:lvl1pPr>
              <a:lnSpc>
                <a:spcPct val="150000"/>
              </a:lnSpc>
              <a:defRPr sz="1700"/>
            </a:lvl1pPr>
            <a:lvl2pPr>
              <a:lnSpc>
                <a:spcPct val="150000"/>
              </a:lnSpc>
              <a:defRPr sz="1700"/>
            </a:lvl2pPr>
            <a:lvl3pPr>
              <a:lnSpc>
                <a:spcPct val="150000"/>
              </a:lnSpc>
              <a:defRPr sz="1700"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defRPr sz="1700"/>
            </a:lvl4pPr>
            <a:lvl5pPr marL="354013" indent="-260350">
              <a:lnSpc>
                <a:spcPct val="150000"/>
              </a:lnSpc>
              <a:defRPr sz="17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378472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platzhalter 15">
            <a:extLst>
              <a:ext uri="{FF2B5EF4-FFF2-40B4-BE49-F238E27FC236}">
                <a16:creationId xmlns:a16="http://schemas.microsoft.com/office/drawing/2014/main" id="{A943D58F-B526-4716-9660-D9FC75EBCBC2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719998" y="3405921"/>
            <a:ext cx="2448000" cy="241385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tabLst>
                <a:tab pos="123825" algn="l"/>
              </a:tabLst>
              <a:defRPr sz="1700" cap="none" spc="0" baseline="0"/>
            </a:lvl1pPr>
            <a:lvl2pPr>
              <a:lnSpc>
                <a:spcPct val="150000"/>
              </a:lnSpc>
              <a:tabLst>
                <a:tab pos="123825" algn="l"/>
              </a:tabLst>
              <a:defRPr sz="1700" cap="none" spc="0"/>
            </a:lvl2pPr>
            <a:lvl3pPr marL="142875" indent="-142875">
              <a:lnSpc>
                <a:spcPct val="150000"/>
              </a:lnSpc>
              <a:tabLst>
                <a:tab pos="123825" algn="l"/>
              </a:tabLst>
              <a:defRPr sz="1700" cap="none" spc="0"/>
            </a:lvl3pPr>
            <a:lvl4pPr>
              <a:lnSpc>
                <a:spcPct val="150000"/>
              </a:lnSpc>
              <a:tabLst>
                <a:tab pos="123825" algn="l"/>
              </a:tabLst>
              <a:defRPr sz="1700" cap="none" spc="0"/>
            </a:lvl4pPr>
            <a:lvl5pPr marL="142875" indent="-142875">
              <a:lnSpc>
                <a:spcPct val="150000"/>
              </a:lnSpc>
              <a:tabLst>
                <a:tab pos="123825" algn="l"/>
              </a:tabLst>
              <a:defRPr sz="1700" cap="none"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4" name="Textplatzhalter 15">
            <a:extLst>
              <a:ext uri="{FF2B5EF4-FFF2-40B4-BE49-F238E27FC236}">
                <a16:creationId xmlns:a16="http://schemas.microsoft.com/office/drawing/2014/main" id="{080E0E5D-3993-49AA-B095-E3EED30044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87994" y="3405921"/>
            <a:ext cx="2448000" cy="241385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tabLst>
                <a:tab pos="182563" algn="l"/>
              </a:tabLst>
              <a:defRPr sz="1700" cap="none" spc="0" baseline="0"/>
            </a:lvl1pPr>
            <a:lvl2pPr>
              <a:lnSpc>
                <a:spcPct val="150000"/>
              </a:lnSpc>
              <a:tabLst>
                <a:tab pos="182563" algn="l"/>
              </a:tabLst>
              <a:defRPr sz="1700" cap="none" spc="0"/>
            </a:lvl2pPr>
            <a:lvl3pPr marL="144000" indent="-144000">
              <a:lnSpc>
                <a:spcPct val="150000"/>
              </a:lnSpc>
              <a:tabLst>
                <a:tab pos="146050" algn="l"/>
              </a:tabLst>
              <a:defRPr sz="1700" cap="none" spc="0"/>
            </a:lvl3pPr>
            <a:lvl4pPr>
              <a:lnSpc>
                <a:spcPct val="150000"/>
              </a:lnSpc>
              <a:tabLst>
                <a:tab pos="182563" algn="l"/>
              </a:tabLst>
              <a:defRPr sz="1700" cap="none" spc="0"/>
            </a:lvl4pPr>
            <a:lvl5pPr marL="144000" indent="-144000">
              <a:lnSpc>
                <a:spcPct val="150000"/>
              </a:lnSpc>
              <a:tabLst>
                <a:tab pos="182563" algn="l"/>
              </a:tabLst>
              <a:defRPr sz="1700" cap="none"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5" name="Textplatzhalter 15">
            <a:extLst>
              <a:ext uri="{FF2B5EF4-FFF2-40B4-BE49-F238E27FC236}">
                <a16:creationId xmlns:a16="http://schemas.microsoft.com/office/drawing/2014/main" id="{54E07309-E85D-4DC2-B031-63B59AB9BC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5994" y="3405921"/>
            <a:ext cx="2448000" cy="241385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tabLst>
                <a:tab pos="146050" algn="l"/>
              </a:tabLst>
              <a:defRPr sz="1700" cap="none" spc="0" baseline="0"/>
            </a:lvl1pPr>
            <a:lvl2pPr>
              <a:lnSpc>
                <a:spcPct val="150000"/>
              </a:lnSpc>
              <a:tabLst>
                <a:tab pos="146050" algn="l"/>
              </a:tabLst>
              <a:defRPr sz="1700" cap="none" spc="0"/>
            </a:lvl2pPr>
            <a:lvl3pPr marL="144000" indent="-144000">
              <a:lnSpc>
                <a:spcPct val="150000"/>
              </a:lnSpc>
              <a:tabLst>
                <a:tab pos="146050" algn="l"/>
              </a:tabLst>
              <a:defRPr sz="1700" cap="none" spc="0"/>
            </a:lvl3pPr>
            <a:lvl4pPr>
              <a:lnSpc>
                <a:spcPct val="150000"/>
              </a:lnSpc>
              <a:tabLst>
                <a:tab pos="146050" algn="l"/>
              </a:tabLst>
              <a:defRPr sz="1700" cap="none" spc="0"/>
            </a:lvl4pPr>
            <a:lvl5pPr marL="144000" indent="-144000">
              <a:lnSpc>
                <a:spcPct val="150000"/>
              </a:lnSpc>
              <a:tabLst>
                <a:tab pos="146050" algn="l"/>
              </a:tabLst>
              <a:defRPr sz="1700" cap="none"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6" name="Textplatzhalter 15">
            <a:extLst>
              <a:ext uri="{FF2B5EF4-FFF2-40B4-BE49-F238E27FC236}">
                <a16:creationId xmlns:a16="http://schemas.microsoft.com/office/drawing/2014/main" id="{5EC8F88A-6F63-4222-B06A-26EAF6DE95B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023990" y="3405920"/>
            <a:ext cx="2448000" cy="2413855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tabLst>
                <a:tab pos="182563" algn="l"/>
              </a:tabLst>
              <a:defRPr sz="1700" cap="none" spc="0" baseline="0"/>
            </a:lvl1pPr>
            <a:lvl2pPr>
              <a:lnSpc>
                <a:spcPct val="150000"/>
              </a:lnSpc>
              <a:tabLst>
                <a:tab pos="182563" algn="l"/>
              </a:tabLst>
              <a:defRPr sz="1700" cap="none" spc="0"/>
            </a:lvl2pPr>
            <a:lvl3pPr marL="144000" indent="-144000">
              <a:lnSpc>
                <a:spcPct val="150000"/>
              </a:lnSpc>
              <a:tabLst>
                <a:tab pos="182563" algn="l"/>
              </a:tabLst>
              <a:defRPr sz="1700" cap="none" spc="0"/>
            </a:lvl3pPr>
            <a:lvl4pPr>
              <a:lnSpc>
                <a:spcPct val="150000"/>
              </a:lnSpc>
              <a:tabLst>
                <a:tab pos="182563" algn="l"/>
              </a:tabLst>
              <a:defRPr sz="1700" cap="none" spc="0"/>
            </a:lvl4pPr>
            <a:lvl5pPr marL="144000" indent="-144000">
              <a:lnSpc>
                <a:spcPct val="150000"/>
              </a:lnSpc>
              <a:tabLst>
                <a:tab pos="182563" algn="l"/>
              </a:tabLst>
              <a:defRPr sz="1700" cap="none" spc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90090E5-6DF1-4CCE-BD51-E51A143FD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B08AC6F6-7E61-439D-BFBD-C95382035F8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583998" y="2016004"/>
            <a:ext cx="720000" cy="720000"/>
          </a:xfrm>
          <a:solidFill>
            <a:schemeClr val="bg1"/>
          </a:solidFill>
        </p:spPr>
        <p:txBody>
          <a:bodyPr/>
          <a:lstStyle>
            <a:lvl1pPr algn="ctr"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C7BA536F-80FD-4B00-9605-A3CFDCE660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51994" y="2016004"/>
            <a:ext cx="720000" cy="720000"/>
          </a:xfrm>
          <a:solidFill>
            <a:schemeClr val="bg1"/>
          </a:solidFill>
        </p:spPr>
        <p:txBody>
          <a:bodyPr/>
          <a:lstStyle>
            <a:lvl1pPr algn="ctr"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19" name="Bildplatzhalter 8">
            <a:extLst>
              <a:ext uri="{FF2B5EF4-FFF2-40B4-BE49-F238E27FC236}">
                <a16:creationId xmlns:a16="http://schemas.microsoft.com/office/drawing/2014/main" id="{9B1EE0C7-A4AC-49F2-BC3E-C9FF8E7F096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119990" y="2016004"/>
            <a:ext cx="720000" cy="720000"/>
          </a:xfrm>
          <a:solidFill>
            <a:schemeClr val="bg1"/>
          </a:solidFill>
        </p:spPr>
        <p:txBody>
          <a:bodyPr/>
          <a:lstStyle>
            <a:lvl1pPr algn="ctr">
              <a:defRPr sz="1100"/>
            </a:lvl1pPr>
          </a:lstStyle>
          <a:p>
            <a:r>
              <a:rPr lang="de-DE" dirty="0"/>
              <a:t>Icon</a:t>
            </a:r>
          </a:p>
        </p:txBody>
      </p:sp>
      <p:sp>
        <p:nvSpPr>
          <p:cNvPr id="20" name="Bildplatzhalter 8">
            <a:extLst>
              <a:ext uri="{FF2B5EF4-FFF2-40B4-BE49-F238E27FC236}">
                <a16:creationId xmlns:a16="http://schemas.microsoft.com/office/drawing/2014/main" id="{65886C13-2DF1-4450-B4DD-8D577F7EFBE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887986" y="2016004"/>
            <a:ext cx="720000" cy="720000"/>
          </a:xfrm>
          <a:solidFill>
            <a:schemeClr val="bg1"/>
          </a:solidFill>
        </p:spPr>
        <p:txBody>
          <a:bodyPr/>
          <a:lstStyle>
            <a:lvl1pPr algn="ctr">
              <a:defRPr sz="1100"/>
            </a:lvl1pPr>
          </a:lstStyle>
          <a:p>
            <a:r>
              <a:rPr lang="de-DE" dirty="0"/>
              <a:t>Icon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2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62447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hl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83CB1899-849D-4DA3-B596-8968912A29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62286" y="719999"/>
            <a:ext cx="5345505" cy="5067781"/>
          </a:xfrm>
        </p:spPr>
        <p:txBody>
          <a:bodyPr tIns="0"/>
          <a:lstStyle>
            <a:lvl1pPr algn="r">
              <a:defRPr sz="300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65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55793B-72DF-46FB-BD0D-7ACA802175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9423" y="1647831"/>
            <a:ext cx="4320000" cy="4139957"/>
          </a:xfrm>
        </p:spPr>
        <p:txBody>
          <a:bodyPr/>
          <a:lstStyle>
            <a:lvl1pPr>
              <a:lnSpc>
                <a:spcPct val="150000"/>
              </a:lnSpc>
              <a:defRPr sz="1700" cap="none"/>
            </a:lvl1pPr>
            <a:lvl2pPr>
              <a:lnSpc>
                <a:spcPct val="150000"/>
              </a:lnSpc>
              <a:defRPr sz="1700" cap="none"/>
            </a:lvl2pPr>
            <a:lvl3pPr>
              <a:lnSpc>
                <a:spcPct val="150000"/>
              </a:lnSpc>
              <a:defRPr sz="1700" cap="none"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defRPr sz="1700" cap="none"/>
            </a:lvl4pPr>
            <a:lvl5pPr marL="447675" indent="-269875">
              <a:lnSpc>
                <a:spcPct val="150000"/>
              </a:lnSpc>
              <a:defRPr sz="1700" cap="none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4793D58B-221C-479A-9258-3FA46FB5D51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566404" y="3384151"/>
            <a:ext cx="1064194" cy="1352544"/>
          </a:xfrm>
        </p:spPr>
        <p:txBody>
          <a:bodyPr tIns="0"/>
          <a:lstStyle>
            <a:lvl1pPr algn="l">
              <a:defRPr sz="8500">
                <a:solidFill>
                  <a:schemeClr val="accent4"/>
                </a:solidFill>
              </a:defRPr>
            </a:lvl1pPr>
          </a:lstStyle>
          <a:p>
            <a:pPr lvl="0"/>
            <a:r>
              <a:rPr lang="de-DE" dirty="0"/>
              <a:t>%</a:t>
            </a:r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48553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ganzseitig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7D573414-ACA0-416B-B1E8-5593828FCBC7}"/>
              </a:ext>
            </a:extLst>
          </p:cNvPr>
          <p:cNvSpPr/>
          <p:nvPr userDrawn="1"/>
        </p:nvSpPr>
        <p:spPr>
          <a:xfrm>
            <a:off x="4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latin typeface="+mj-lt"/>
            </a:endParaRPr>
          </a:p>
        </p:txBody>
      </p:sp>
      <p:sp>
        <p:nvSpPr>
          <p:cNvPr id="37" name="Titel 36">
            <a:extLst>
              <a:ext uri="{FF2B5EF4-FFF2-40B4-BE49-F238E27FC236}">
                <a16:creationId xmlns:a16="http://schemas.microsoft.com/office/drawing/2014/main" id="{56E0FA34-0AF2-4B8E-9790-24EC1B2FE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E550506-C36C-49C2-82D1-C16C08BCB04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19292" y="1656920"/>
            <a:ext cx="10751987" cy="4140000"/>
          </a:xfrm>
        </p:spPr>
        <p:txBody>
          <a:bodyPr/>
          <a:lstStyle>
            <a:lvl1pPr algn="l">
              <a:spcAft>
                <a:spcPts val="1200"/>
              </a:spcAft>
              <a:defRPr sz="3600" b="0" i="1" cap="none" baseline="0">
                <a:solidFill>
                  <a:schemeClr val="bg1"/>
                </a:solidFill>
              </a:defRPr>
            </a:lvl1pPr>
            <a:lvl2pPr algn="l">
              <a:defRPr b="1" cap="all" spc="60" baseline="0">
                <a:solidFill>
                  <a:schemeClr val="bg1"/>
                </a:solidFill>
              </a:defRPr>
            </a:lvl2pPr>
            <a:lvl3pPr marL="177800" indent="-177800" algn="l">
              <a:buClr>
                <a:schemeClr val="bg1"/>
              </a:buClr>
              <a:buFont typeface="Wingdings" panose="05000000000000000000" pitchFamily="2" charset="2"/>
              <a:buChar char="§"/>
              <a:defRPr cap="none" spc="60" baseline="0">
                <a:solidFill>
                  <a:schemeClr val="bg1"/>
                </a:solidFill>
              </a:defRPr>
            </a:lvl3pPr>
            <a:lvl4pPr algn="l">
              <a:lnSpc>
                <a:spcPct val="15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381331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 and Fig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C6BA4402-5FDD-4AC9-A56C-B1962FAEE69C}"/>
              </a:ext>
            </a:extLst>
          </p:cNvPr>
          <p:cNvSpPr/>
          <p:nvPr userDrawn="1"/>
        </p:nvSpPr>
        <p:spPr>
          <a:xfrm>
            <a:off x="8607993" y="1647826"/>
            <a:ext cx="3584012" cy="4139940"/>
          </a:xfrm>
          <a:prstGeom prst="rect">
            <a:avLst/>
          </a:prstGeom>
          <a:solidFill>
            <a:srgbClr val="4F81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83CB1899-849D-4DA3-B596-8968912A29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01225" y="1929924"/>
            <a:ext cx="2557382" cy="1369606"/>
          </a:xfrm>
        </p:spPr>
        <p:txBody>
          <a:bodyPr tIns="0"/>
          <a:lstStyle>
            <a:lvl1pPr algn="l">
              <a:defRPr sz="8000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65 %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355793B-72DF-46FB-BD0D-7ACA8021754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01229" y="3207579"/>
            <a:ext cx="2270759" cy="1944000"/>
          </a:xfrm>
        </p:spPr>
        <p:txBody>
          <a:bodyPr/>
          <a:lstStyle>
            <a:lvl1pPr>
              <a:defRPr sz="1700">
                <a:solidFill>
                  <a:schemeClr val="bg1"/>
                </a:solidFill>
              </a:defRPr>
            </a:lvl1pPr>
            <a:lvl2pPr>
              <a:defRPr sz="17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700">
                <a:solidFill>
                  <a:schemeClr val="bg1"/>
                </a:solidFill>
              </a:defRPr>
            </a:lvl3pPr>
            <a:lvl4pPr marL="354013" indent="-177800">
              <a:buClr>
                <a:schemeClr val="bg1"/>
              </a:buClr>
              <a:buFont typeface="Wingdings" panose="05000000000000000000" pitchFamily="2" charset="2"/>
              <a:buChar char="§"/>
              <a:defRPr sz="1700">
                <a:solidFill>
                  <a:schemeClr val="bg1"/>
                </a:solidFill>
              </a:defRPr>
            </a:lvl4pPr>
            <a:lvl5pPr marL="355600" indent="-179388">
              <a:tabLst/>
              <a:defRPr sz="17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7" name="Inhaltsplatzhalter 7">
            <a:extLst>
              <a:ext uri="{FF2B5EF4-FFF2-40B4-BE49-F238E27FC236}">
                <a16:creationId xmlns:a16="http://schemas.microsoft.com/office/drawing/2014/main" id="{1995AB56-B476-4DD6-8AD7-5983AC23A21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20003" y="1655999"/>
            <a:ext cx="6811101" cy="4140000"/>
          </a:xfrm>
        </p:spPr>
        <p:txBody>
          <a:bodyPr/>
          <a:lstStyle>
            <a:lvl1pPr>
              <a:lnSpc>
                <a:spcPct val="150000"/>
              </a:lnSpc>
              <a:defRPr/>
            </a:lvl1pPr>
            <a:lvl2pPr>
              <a:lnSpc>
                <a:spcPct val="150000"/>
              </a:lnSpc>
              <a:defRPr/>
            </a:lvl2pPr>
            <a:lvl3pPr>
              <a:lnSpc>
                <a:spcPct val="150000"/>
              </a:lnSpc>
              <a:defRPr/>
            </a:lvl3pPr>
            <a:lvl4pPr marL="354013" indent="-176213">
              <a:lnSpc>
                <a:spcPct val="150000"/>
              </a:lnSpc>
              <a:buClr>
                <a:schemeClr val="accent4"/>
              </a:buClr>
              <a:buFont typeface="Wingdings" panose="05000000000000000000" pitchFamily="2" charset="2"/>
              <a:buChar char="§"/>
              <a:tabLst/>
              <a:defRPr sz="1700"/>
            </a:lvl4pPr>
            <a:lvl5pPr marL="354013" indent="-269875">
              <a:lnSpc>
                <a:spcPct val="150000"/>
              </a:lnSpc>
              <a:defRPr sz="17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42054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lächig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1" y="1728004"/>
            <a:ext cx="12191999" cy="5130001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9E00D91-6216-4C63-B629-3CE2A99B8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51720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lächig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4" y="1"/>
            <a:ext cx="12192000" cy="5112000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35" name="Textplatzhalter 15">
            <a:extLst>
              <a:ext uri="{FF2B5EF4-FFF2-40B4-BE49-F238E27FC236}">
                <a16:creationId xmlns:a16="http://schemas.microsoft.com/office/drawing/2014/main" id="{AC812A5A-0598-445B-84DA-3F5F23A103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002" y="5240344"/>
            <a:ext cx="10771053" cy="540000"/>
          </a:xfrm>
        </p:spPr>
        <p:txBody>
          <a:bodyPr anchor="b">
            <a:noAutofit/>
          </a:bodyPr>
          <a:lstStyle>
            <a:lvl1pPr marL="0" indent="0">
              <a:lnSpc>
                <a:spcPts val="1400"/>
              </a:lnSpc>
              <a:defRPr sz="1100" b="0" cap="none" spc="0" baseline="0"/>
            </a:lvl1pPr>
            <a:lvl2pPr marL="179388" indent="-179388">
              <a:lnSpc>
                <a:spcPts val="1400"/>
              </a:lnSpc>
              <a:defRPr sz="1100" b="0"/>
            </a:lvl2pPr>
            <a:lvl3pPr marL="0" indent="0">
              <a:lnSpc>
                <a:spcPts val="1400"/>
              </a:lnSpc>
              <a:buFontTx/>
              <a:buNone/>
              <a:defRPr sz="1100" b="0"/>
            </a:lvl3pPr>
            <a:lvl4pPr marL="179388" indent="-179388">
              <a:lnSpc>
                <a:spcPts val="1400"/>
              </a:lnSpc>
              <a:defRPr sz="1100" b="0"/>
            </a:lvl4pPr>
            <a:lvl5pPr marL="0" indent="0">
              <a:lnSpc>
                <a:spcPts val="1400"/>
              </a:lnSpc>
              <a:buFontTx/>
              <a:buNone/>
              <a:defRPr sz="1100" b="0"/>
            </a:lvl5pPr>
          </a:lstStyle>
          <a:p>
            <a:pPr lvl="0"/>
            <a:r>
              <a:rPr lang="de-DE" dirty="0"/>
              <a:t>Bildunterschrift 11 </a:t>
            </a:r>
            <a:r>
              <a:rPr lang="de-DE" dirty="0" err="1"/>
              <a:t>pt</a:t>
            </a:r>
            <a:r>
              <a:rPr lang="de-DE" dirty="0"/>
              <a:t>.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919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6277202" y="1647816"/>
            <a:ext cx="5194782" cy="4132534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A45C2D3F-246F-4DEE-AD7D-D1AEFC859E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184354" cy="41637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7D3DA524-4223-4869-97DE-2904751647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3481" y="319092"/>
            <a:ext cx="1305600" cy="31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47605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flächig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749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4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200"/>
              </a:lnSpc>
            </a:pPr>
            <a:endParaRPr lang="de-DE" sz="2400" b="1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585079" y="5"/>
            <a:ext cx="4606925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17C61F-8D2B-4B28-AC3B-49847D206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999" y="720003"/>
            <a:ext cx="5507764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D6FEAB31-C8DB-407E-8E7B-D21BC3BFA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507764" cy="416377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9656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flächig rechts Dru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87649" y="5"/>
            <a:ext cx="5904351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617C61F-8D2B-4B28-AC3B-49847D206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3" y="720003"/>
            <a:ext cx="5183385" cy="792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D6FEAB31-C8DB-407E-8E7B-D21BC3BFA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184354" cy="4163775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268E10E-C1BA-4E12-90CE-C68B4C4BFC10}"/>
              </a:ext>
            </a:extLst>
          </p:cNvPr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4ED2595-B85B-464B-A284-140EEE579AA5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92C155D-FF84-47E4-A35F-3E5C7790FB2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69256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440004" y="5"/>
            <a:ext cx="4752000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6" name="Textplatzhalter 15">
            <a:extLst>
              <a:ext uri="{FF2B5EF4-FFF2-40B4-BE49-F238E27FC236}">
                <a16:creationId xmlns:a16="http://schemas.microsoft.com/office/drawing/2014/main" id="{D6FEAB31-C8DB-407E-8E7B-D21BC3BFA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3"/>
            <a:ext cx="5940000" cy="4163775"/>
          </a:xfrm>
        </p:spPr>
        <p:txBody>
          <a:bodyPr/>
          <a:lstStyle>
            <a:lvl1pPr algn="l">
              <a:spcAft>
                <a:spcPts val="1800"/>
              </a:spcAft>
              <a:defRPr sz="2400" b="0" i="1" cap="none" baseline="0">
                <a:solidFill>
                  <a:srgbClr val="00899C"/>
                </a:solidFill>
              </a:defRPr>
            </a:lvl1pPr>
            <a:lvl2pPr algn="l">
              <a:defRPr sz="1700" b="1" i="0" cap="all" spc="60" baseline="0"/>
            </a:lvl2pPr>
            <a:lvl3pPr marL="0" indent="0" algn="l">
              <a:buFontTx/>
              <a:buNone/>
              <a:defRPr sz="1700" b="0" i="0" cap="none" baseline="0"/>
            </a:lvl3pPr>
            <a:lvl4pPr>
              <a:defRPr sz="2400" b="0" i="1" cap="none" baseline="0"/>
            </a:lvl4pPr>
            <a:lvl5pPr>
              <a:defRPr sz="2400" b="0" i="1" cap="none" baseline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525" y="319088"/>
            <a:ext cx="1308100" cy="314961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19067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52B9204-3CA8-4F46-9611-D37CCDE4E1BC}"/>
              </a:ext>
            </a:extLst>
          </p:cNvPr>
          <p:cNvSpPr/>
          <p:nvPr userDrawn="1"/>
        </p:nvSpPr>
        <p:spPr>
          <a:xfrm>
            <a:off x="0" y="0"/>
            <a:ext cx="7440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2200"/>
              </a:lnSpc>
            </a:pPr>
            <a:endParaRPr lang="de-DE" sz="1700" dirty="0">
              <a:solidFill>
                <a:prstClr val="white"/>
              </a:solidFill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32BF8104-E095-4F93-A5AB-410F735A80DF}"/>
              </a:ext>
            </a:extLst>
          </p:cNvPr>
          <p:cNvSpPr>
            <a:spLocks noGrp="1"/>
          </p:cNvSpPr>
          <p:nvPr userDrawn="1">
            <p:ph type="pic" sz="quarter" idx="13"/>
          </p:nvPr>
        </p:nvSpPr>
        <p:spPr>
          <a:xfrm>
            <a:off x="7440004" y="5"/>
            <a:ext cx="4752000" cy="6857999"/>
          </a:xfrm>
          <a:solidFill>
            <a:schemeClr val="bg2"/>
          </a:solidFill>
        </p:spPr>
        <p:txBody>
          <a:bodyPr tIns="0" bIns="936000" anchor="ctr">
            <a:normAutofit/>
          </a:bodyPr>
          <a:lstStyle>
            <a:lvl1pPr algn="ctr">
              <a:defRPr sz="900" cap="none" baseline="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2D948F1-0E22-4609-A685-F0FD1D3A70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999" y="1656000"/>
            <a:ext cx="5940000" cy="4124344"/>
          </a:xfrm>
        </p:spPr>
        <p:txBody>
          <a:bodyPr/>
          <a:lstStyle>
            <a:lvl1pPr algn="l">
              <a:spcAft>
                <a:spcPts val="1800"/>
              </a:spcAft>
              <a:defRPr sz="2400" b="0" i="1" cap="none" baseline="0">
                <a:solidFill>
                  <a:schemeClr val="bg1"/>
                </a:solidFill>
              </a:defRPr>
            </a:lvl1pPr>
            <a:lvl2pPr algn="l">
              <a:defRPr sz="1700" b="1" i="0" cap="all" spc="60" baseline="0">
                <a:solidFill>
                  <a:schemeClr val="bg1"/>
                </a:solidFill>
              </a:defRPr>
            </a:lvl2pPr>
            <a:lvl3pPr marL="0" indent="0" algn="l">
              <a:buFontTx/>
              <a:buNone/>
              <a:defRPr sz="1700" b="0" i="0" cap="none" baseline="0">
                <a:solidFill>
                  <a:schemeClr val="bg1"/>
                </a:solidFill>
              </a:defRPr>
            </a:lvl3pPr>
            <a:lvl4pPr>
              <a:defRPr sz="2400" b="0" i="1" cap="none" baseline="0"/>
            </a:lvl4pPr>
            <a:lvl5pPr>
              <a:defRPr sz="2400" b="0" i="1" cap="none" baseline="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8132" y="319088"/>
            <a:ext cx="1308100" cy="314961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22.07.2020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| Titel der Präsentation ODER der Veranstaltung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prstClr val="white"/>
                </a:solidFill>
              </a:rPr>
              <a:pPr/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3000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7">
            <a:extLst>
              <a:ext uri="{FF2B5EF4-FFF2-40B4-BE49-F238E27FC236}">
                <a16:creationId xmlns:a16="http://schemas.microsoft.com/office/drawing/2014/main" id="{A891B752-2C4A-492E-A71C-4DC0BC39E5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60000" y="1619999"/>
            <a:ext cx="10272000" cy="4522764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31" name="Titel 30">
            <a:extLst>
              <a:ext uri="{FF2B5EF4-FFF2-40B4-BE49-F238E27FC236}">
                <a16:creationId xmlns:a16="http://schemas.microsoft.com/office/drawing/2014/main" id="{B1840D11-A183-4DEA-A0BA-B03317545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7D993AC-C514-4B4D-8043-FAC4B035283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BE98196-92A2-4930-BA9C-DDDB8C34E8C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461457" y="6356351"/>
            <a:ext cx="4114800" cy="144000"/>
          </a:xfrm>
        </p:spPr>
        <p:txBody>
          <a:bodyPr/>
          <a:lstStyle/>
          <a:p>
            <a:endParaRPr lang="de-DE" dirty="0">
              <a:solidFill>
                <a:srgbClr val="003E77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DDA4E79-7E31-40E8-8E53-D93E22FD47B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1036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2DBB7A08-6BD2-4AC1-B0CC-70F8B81404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60967" y="1619250"/>
            <a:ext cx="10270067" cy="432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err="1"/>
              <a:t>Subheadline</a:t>
            </a:r>
            <a:endParaRPr lang="en-US" noProof="0" dirty="0"/>
          </a:p>
        </p:txBody>
      </p:sp>
      <p:sp>
        <p:nvSpPr>
          <p:cNvPr id="11" name="Inhaltsplatzhalter 7">
            <a:extLst>
              <a:ext uri="{FF2B5EF4-FFF2-40B4-BE49-F238E27FC236}">
                <a16:creationId xmlns:a16="http://schemas.microsoft.com/office/drawing/2014/main" id="{F96F473A-C219-4C98-A447-11DA4193153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60000" y="2051251"/>
            <a:ext cx="10272000" cy="4091513"/>
          </a:xfrm>
        </p:spPr>
        <p:txBody>
          <a:bodyPr/>
          <a:lstStyle/>
          <a:p>
            <a:pPr lvl="0"/>
            <a:r>
              <a:rPr lang="en-US" noProof="0" dirty="0" err="1"/>
              <a:t>Mastertext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51D12848-1DFB-4C2B-803A-F88510BC5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Mastertitel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1A3871C-65CD-491D-AC32-A03E6164A33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5C2C1F6-BAED-4635-9684-31BC22F1AB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>
              <a:solidFill>
                <a:srgbClr val="003E77"/>
              </a:solidFill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D5E9FF8-B044-4B98-949B-A341FF1B730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6995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oleObject" Target="../embeddings/oleObject6.bin"/><Relationship Id="rId5" Type="http://schemas.openxmlformats.org/officeDocument/2006/relationships/slideLayout" Target="../slideLayouts/slideLayout30.xml"/><Relationship Id="rId10" Type="http://schemas.openxmlformats.org/officeDocument/2006/relationships/tags" Target="../tags/tag11.xml"/><Relationship Id="rId4" Type="http://schemas.openxmlformats.org/officeDocument/2006/relationships/slideLayout" Target="../slideLayouts/slideLayout29.xml"/><Relationship Id="rId9" Type="http://schemas.openxmlformats.org/officeDocument/2006/relationships/tags" Target="../tags/tag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oleObject" Target="../embeddings/oleObject8.bin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tags" Target="../tags/tag15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tags" Target="../tags/tag14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theme" Target="../theme/theme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oleObject" Target="../embeddings/oleObject13.bin"/><Relationship Id="rId5" Type="http://schemas.openxmlformats.org/officeDocument/2006/relationships/slideLayout" Target="../slideLayouts/slideLayout59.xml"/><Relationship Id="rId10" Type="http://schemas.openxmlformats.org/officeDocument/2006/relationships/tags" Target="../tags/tag23.xml"/><Relationship Id="rId4" Type="http://schemas.openxmlformats.org/officeDocument/2006/relationships/slideLayout" Target="../slideLayouts/slideLayout58.xml"/><Relationship Id="rId9" Type="http://schemas.openxmlformats.org/officeDocument/2006/relationships/tags" Target="../tags/tag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oleObject" Target="../embeddings/oleObject15.bin"/><Relationship Id="rId5" Type="http://schemas.openxmlformats.org/officeDocument/2006/relationships/slideLayout" Target="../slideLayouts/slideLayout66.xml"/><Relationship Id="rId10" Type="http://schemas.openxmlformats.org/officeDocument/2006/relationships/tags" Target="../tags/tag27.xml"/><Relationship Id="rId4" Type="http://schemas.openxmlformats.org/officeDocument/2006/relationships/slideLayout" Target="../slideLayouts/slideLayout65.xml"/><Relationship Id="rId9" Type="http://schemas.openxmlformats.org/officeDocument/2006/relationships/tags" Target="../tags/tag2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oleObject" Target="../embeddings/oleObject17.bin"/><Relationship Id="rId5" Type="http://schemas.openxmlformats.org/officeDocument/2006/relationships/slideLayout" Target="../slideLayouts/slideLayout73.xml"/><Relationship Id="rId10" Type="http://schemas.openxmlformats.org/officeDocument/2006/relationships/tags" Target="../tags/tag31.xml"/><Relationship Id="rId4" Type="http://schemas.openxmlformats.org/officeDocument/2006/relationships/slideLayout" Target="../slideLayouts/slideLayout72.xml"/><Relationship Id="rId9" Type="http://schemas.openxmlformats.org/officeDocument/2006/relationships/tags" Target="../tags/tag3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theme" Target="../theme/theme7.xml"/><Relationship Id="rId3" Type="http://schemas.openxmlformats.org/officeDocument/2006/relationships/slideLayout" Target="../slideLayouts/slideLayout78.xml"/><Relationship Id="rId21" Type="http://schemas.openxmlformats.org/officeDocument/2006/relationships/slideLayout" Target="../slideLayouts/slideLayout96.xml"/><Relationship Id="rId7" Type="http://schemas.openxmlformats.org/officeDocument/2006/relationships/slideLayout" Target="../slideLayouts/slideLayout82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0" Type="http://schemas.openxmlformats.org/officeDocument/2006/relationships/slideLayout" Target="../slideLayouts/slideLayout95.xml"/><Relationship Id="rId29" Type="http://schemas.openxmlformats.org/officeDocument/2006/relationships/oleObject" Target="../embeddings/oleObject19.bin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tags" Target="../tags/tag35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tags" Target="../tags/tag34.xml"/><Relationship Id="rId30" Type="http://schemas.openxmlformats.org/officeDocument/2006/relationships/image" Target="../media/image1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theme" Target="../theme/theme8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oleObject" Target="../embeddings/oleObject24.bin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tags" Target="../tags/tag43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tags" Target="../tags/tag4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422696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338" imgH="338" progId="TCLayout.ActiveDocument.1">
                  <p:embed/>
                </p:oleObj>
              </mc:Choice>
              <mc:Fallback>
                <p:oleObj name="think-cell Folie" r:id="rId29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8"/>
            </p:custDataLst>
          </p:nvPr>
        </p:nvSpPr>
        <p:spPr>
          <a:xfrm>
            <a:off x="0" y="4"/>
            <a:ext cx="158750" cy="158750"/>
          </a:xfrm>
          <a:prstGeom prst="rect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2200"/>
              </a:lnSpc>
            </a:pPr>
            <a:endParaRPr lang="en-GB" sz="24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0003" y="1656000"/>
            <a:ext cx="10751963" cy="4140000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624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14" r:id="rId2"/>
    <p:sldLayoutId id="2147483687" r:id="rId3"/>
    <p:sldLayoutId id="2147483716" r:id="rId4"/>
    <p:sldLayoutId id="2147483694" r:id="rId5"/>
    <p:sldLayoutId id="2147483721" r:id="rId6"/>
    <p:sldLayoutId id="2147483662" r:id="rId7"/>
    <p:sldLayoutId id="2147483689" r:id="rId8"/>
    <p:sldLayoutId id="2147483705" r:id="rId9"/>
    <p:sldLayoutId id="2147483710" r:id="rId10"/>
    <p:sldLayoutId id="2147483711" r:id="rId11"/>
    <p:sldLayoutId id="2147483709" r:id="rId12"/>
    <p:sldLayoutId id="2147483681" r:id="rId13"/>
    <p:sldLayoutId id="2147483707" r:id="rId14"/>
    <p:sldLayoutId id="2147483708" r:id="rId15"/>
    <p:sldLayoutId id="2147483676" r:id="rId16"/>
    <p:sldLayoutId id="2147483679" r:id="rId17"/>
    <p:sldLayoutId id="2147483674" r:id="rId18"/>
    <p:sldLayoutId id="2147483675" r:id="rId19"/>
    <p:sldLayoutId id="2147483717" r:id="rId20"/>
    <p:sldLayoutId id="2147483701" r:id="rId21"/>
    <p:sldLayoutId id="2147483700" r:id="rId22"/>
    <p:sldLayoutId id="2147483846" r:id="rId23"/>
    <p:sldLayoutId id="2147483849" r:id="rId24"/>
    <p:sldLayoutId id="2147483850" r:id="rId25"/>
  </p:sldLayoutIdLst>
  <p:hf hdr="0"/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tabLst>
          <a:tab pos="444500" algn="l"/>
        </a:tabLst>
        <a:defRPr sz="2400" b="1" kern="1200" cap="all" spc="6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FontTx/>
        <a:buNone/>
        <a:defRPr sz="1700" b="1" kern="1200" cap="none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FontTx/>
        <a:buNone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2pPr>
      <a:lvl3pPr marL="180975" indent="-180975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rgbClr val="00899C"/>
        </a:buClr>
        <a:buFont typeface="Wingdings" panose="05000000000000000000" pitchFamily="2" charset="2"/>
        <a:buChar char="§"/>
        <a:defRPr sz="1700" b="0" kern="1200" cap="none" spc="0">
          <a:solidFill>
            <a:schemeClr val="tx2"/>
          </a:solidFill>
          <a:latin typeface="+mj-lt"/>
          <a:ea typeface="+mn-ea"/>
          <a:cs typeface="+mn-cs"/>
        </a:defRPr>
      </a:lvl3pPr>
      <a:lvl4pPr marL="354013" indent="-176213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chemeClr val="accent4"/>
        </a:buClr>
        <a:buFont typeface="Wingdings" panose="05000000000000000000" pitchFamily="2" charset="2"/>
        <a:buChar char="§"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4pPr>
      <a:lvl5pPr marL="354013" indent="-269875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Font typeface="+mj-lt"/>
        <a:buAutoNum type="arabicPeriod"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30817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38" imgH="338" progId="TCLayout.ActiveDocument.1">
                  <p:embed/>
                </p:oleObj>
              </mc:Choice>
              <mc:Fallback>
                <p:oleObj name="think-cell Folie" r:id="rId11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10"/>
            </p:custDataLst>
          </p:nvPr>
        </p:nvSpPr>
        <p:spPr>
          <a:xfrm>
            <a:off x="0" y="4"/>
            <a:ext cx="158750" cy="158750"/>
          </a:xfrm>
          <a:prstGeom prst="rect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ts val="2200"/>
              </a:lnSpc>
            </a:pPr>
            <a:endParaRPr lang="en-GB" sz="2400" b="1" i="0" baseline="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0003" y="1656000"/>
            <a:ext cx="10751963" cy="4140000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22.07.2020</a:t>
            </a:r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/>
              <a:t>| Titel der Präsentation ODER der Veranstaltung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632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51" r:id="rId3"/>
    <p:sldLayoutId id="2147483756" r:id="rId4"/>
    <p:sldLayoutId id="2147483754" r:id="rId5"/>
    <p:sldLayoutId id="2147483755" r:id="rId6"/>
    <p:sldLayoutId id="2147483672" r:id="rId7"/>
  </p:sldLayoutIdLst>
  <p:hf hdr="0"/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tabLst>
          <a:tab pos="444500" algn="l"/>
        </a:tabLst>
        <a:defRPr sz="2400" b="1" kern="1200" cap="all" spc="6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just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700" b="1" kern="1200" cap="none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just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2pPr>
      <a:lvl3pPr marL="180975" indent="-180975" algn="just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899C"/>
        </a:buClr>
        <a:buFont typeface="Wingdings" panose="05000000000000000000" pitchFamily="2" charset="2"/>
        <a:buChar char="§"/>
        <a:defRPr sz="1700" b="0" kern="1200" cap="none" spc="0">
          <a:solidFill>
            <a:schemeClr val="tx2"/>
          </a:solidFill>
          <a:latin typeface="+mj-lt"/>
          <a:ea typeface="+mn-ea"/>
          <a:cs typeface="+mn-cs"/>
        </a:defRPr>
      </a:lvl3pPr>
      <a:lvl4pPr marL="354013" indent="-176213" algn="just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4"/>
        </a:buClr>
        <a:buFont typeface="Wingdings" panose="05000000000000000000" pitchFamily="2" charset="2"/>
        <a:buChar char="§"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4pPr>
      <a:lvl5pPr marL="354013" indent="-269875" algn="just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rabicPeriod"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809599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338" imgH="338" progId="TCLayout.ActiveDocument.1">
                  <p:embed/>
                </p:oleObj>
              </mc:Choice>
              <mc:Fallback>
                <p:oleObj name="think-cell Folie" r:id="rId2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5"/>
            </p:custDataLst>
          </p:nvPr>
        </p:nvSpPr>
        <p:spPr>
          <a:xfrm>
            <a:off x="0" y="4"/>
            <a:ext cx="158750" cy="158750"/>
          </a:xfrm>
          <a:prstGeom prst="rect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200"/>
              </a:lnSpc>
            </a:pPr>
            <a:endParaRPr lang="en-GB" sz="2400" b="1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0003" y="1656000"/>
            <a:ext cx="10751963" cy="4140000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994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  <p:sldLayoutId id="2147483796" r:id="rId14"/>
    <p:sldLayoutId id="2147483797" r:id="rId15"/>
    <p:sldLayoutId id="2147483798" r:id="rId16"/>
    <p:sldLayoutId id="2147483799" r:id="rId17"/>
    <p:sldLayoutId id="2147483800" r:id="rId18"/>
    <p:sldLayoutId id="2147483801" r:id="rId19"/>
    <p:sldLayoutId id="2147483802" r:id="rId20"/>
    <p:sldLayoutId id="2147483803" r:id="rId21"/>
    <p:sldLayoutId id="2147483804" r:id="rId22"/>
  </p:sldLayoutIdLst>
  <p:hf hdr="0"/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tabLst>
          <a:tab pos="444500" algn="l"/>
        </a:tabLst>
        <a:defRPr sz="2400" b="1" kern="1200" cap="all" spc="6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FontTx/>
        <a:buNone/>
        <a:defRPr sz="1700" b="1" kern="1200" cap="none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FontTx/>
        <a:buNone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2pPr>
      <a:lvl3pPr marL="180975" indent="-180975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rgbClr val="00899C"/>
        </a:buClr>
        <a:buFont typeface="Wingdings" panose="05000000000000000000" pitchFamily="2" charset="2"/>
        <a:buChar char="§"/>
        <a:defRPr sz="1700" b="0" kern="1200" cap="none" spc="0">
          <a:solidFill>
            <a:schemeClr val="tx2"/>
          </a:solidFill>
          <a:latin typeface="+mj-lt"/>
          <a:ea typeface="+mn-ea"/>
          <a:cs typeface="+mn-cs"/>
        </a:defRPr>
      </a:lvl3pPr>
      <a:lvl4pPr marL="354013" indent="-176213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chemeClr val="accent4"/>
        </a:buClr>
        <a:buFont typeface="Wingdings" panose="05000000000000000000" pitchFamily="2" charset="2"/>
        <a:buChar char="§"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4pPr>
      <a:lvl5pPr marL="354013" indent="-269875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Font typeface="+mj-lt"/>
        <a:buAutoNum type="arabicPeriod"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41076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38" imgH="338" progId="TCLayout.ActiveDocument.1">
                  <p:embed/>
                </p:oleObj>
              </mc:Choice>
              <mc:Fallback>
                <p:oleObj name="think-cell Folie" r:id="rId11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10"/>
            </p:custDataLst>
          </p:nvPr>
        </p:nvSpPr>
        <p:spPr>
          <a:xfrm>
            <a:off x="4" y="5"/>
            <a:ext cx="158751" cy="158750"/>
          </a:xfrm>
          <a:prstGeom prst="rect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>
              <a:lnSpc>
                <a:spcPts val="2200"/>
              </a:lnSpc>
            </a:pPr>
            <a:endParaRPr lang="en-GB" sz="2400" b="1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0003" y="1656000"/>
            <a:ext cx="10751963" cy="4140000"/>
          </a:xfrm>
          <a:prstGeom prst="rect">
            <a:avLst/>
          </a:prstGeom>
        </p:spPr>
        <p:txBody>
          <a:bodyPr vert="horz" lIns="0" tIns="71998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9" y="5731828"/>
            <a:ext cx="1259633" cy="1129004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8" y="6356351"/>
            <a:ext cx="1399091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pPr defTabSz="457189"/>
            <a:r>
              <a:rPr lang="de-DE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pPr defTabSz="457189"/>
            <a:r>
              <a:rPr lang="de-DE">
                <a:solidFill>
                  <a:srgbClr val="003E77"/>
                </a:solidFill>
              </a:rPr>
              <a:t>| Titel der Präsentation ODER der Veranstaltung</a:t>
            </a:r>
            <a:endParaRPr lang="de-DE" dirty="0">
              <a:solidFill>
                <a:srgbClr val="003E77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3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defTabSz="457189"/>
            <a:fld id="{55B617DF-0598-4CB7-9ACB-BD8355A1A30B}" type="slidenum">
              <a:rPr lang="en-US" smtClean="0">
                <a:solidFill>
                  <a:srgbClr val="003E77"/>
                </a:solidFill>
              </a:rPr>
              <a:pPr defTabSz="457189"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296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</p:sldLayoutIdLst>
  <p:hf hdr="0"/>
  <p:txStyles>
    <p:titleStyle>
      <a:lvl1pPr algn="l" defTabSz="914377" rtl="0" eaLnBrk="1" latinLnBrk="0" hangingPunct="1">
        <a:lnSpc>
          <a:spcPts val="3100"/>
        </a:lnSpc>
        <a:spcBef>
          <a:spcPct val="0"/>
        </a:spcBef>
        <a:buNone/>
        <a:tabLst>
          <a:tab pos="444489" algn="l"/>
        </a:tabLst>
        <a:defRPr sz="2400" b="1" kern="1200" cap="all" spc="6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just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700" b="1" kern="1200" cap="none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just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2pPr>
      <a:lvl3pPr marL="180970" indent="-180970" algn="just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899C"/>
        </a:buClr>
        <a:buFont typeface="Wingdings" panose="05000000000000000000" pitchFamily="2" charset="2"/>
        <a:buChar char="§"/>
        <a:defRPr sz="1700" b="0" kern="1200" cap="none" spc="0">
          <a:solidFill>
            <a:schemeClr val="tx2"/>
          </a:solidFill>
          <a:latin typeface="+mj-lt"/>
          <a:ea typeface="+mn-ea"/>
          <a:cs typeface="+mn-cs"/>
        </a:defRPr>
      </a:lvl3pPr>
      <a:lvl4pPr marL="354004" indent="-176209" algn="just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4"/>
        </a:buClr>
        <a:buFont typeface="Wingdings" panose="05000000000000000000" pitchFamily="2" charset="2"/>
        <a:buChar char="§"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4pPr>
      <a:lvl5pPr marL="354004" indent="-269868" algn="just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rabicPeriod"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11944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38" imgH="338" progId="TCLayout.ActiveDocument.1">
                  <p:embed/>
                </p:oleObj>
              </mc:Choice>
              <mc:Fallback>
                <p:oleObj name="think-cell Folie" r:id="rId11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10"/>
            </p:custDataLst>
          </p:nvPr>
        </p:nvSpPr>
        <p:spPr>
          <a:xfrm>
            <a:off x="1" y="2"/>
            <a:ext cx="158751" cy="158750"/>
          </a:xfrm>
          <a:prstGeom prst="rect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89">
              <a:lnSpc>
                <a:spcPts val="2200"/>
              </a:lnSpc>
            </a:pPr>
            <a:endParaRPr lang="en-GB" sz="2400" b="1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0000" y="720000"/>
            <a:ext cx="10751987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0000" y="1656000"/>
            <a:ext cx="10751963" cy="4140000"/>
          </a:xfrm>
          <a:prstGeom prst="rect">
            <a:avLst/>
          </a:prstGeom>
        </p:spPr>
        <p:txBody>
          <a:bodyPr vert="horz" lIns="0" tIns="71998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6" y="5731828"/>
            <a:ext cx="1259633" cy="1129004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1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pPr defTabSz="457189"/>
            <a:r>
              <a:rPr lang="de-DE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6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1" baseline="0">
                <a:solidFill>
                  <a:schemeClr val="tx2"/>
                </a:solidFill>
                <a:latin typeface="+mj-lt"/>
              </a:defRPr>
            </a:lvl1pPr>
          </a:lstStyle>
          <a:p>
            <a:pPr defTabSz="457189"/>
            <a:r>
              <a:rPr lang="de-DE">
                <a:solidFill>
                  <a:srgbClr val="003E77"/>
                </a:solidFill>
              </a:rPr>
              <a:t>| Titel der Präsentation ODER der Veranstaltung</a:t>
            </a:r>
            <a:endParaRPr lang="de-DE" dirty="0">
              <a:solidFill>
                <a:srgbClr val="003E77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0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pPr defTabSz="457189"/>
            <a:fld id="{55B617DF-0598-4CB7-9ACB-BD8355A1A30B}" type="slidenum">
              <a:rPr lang="en-US" smtClean="0">
                <a:solidFill>
                  <a:srgbClr val="003E77"/>
                </a:solidFill>
              </a:rPr>
              <a:pPr defTabSz="457189"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875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</p:sldLayoutIdLst>
  <p:hf hdr="0"/>
  <p:txStyles>
    <p:titleStyle>
      <a:lvl1pPr algn="l" defTabSz="914377" rtl="0" eaLnBrk="1" latinLnBrk="0" hangingPunct="1">
        <a:lnSpc>
          <a:spcPts val="3100"/>
        </a:lnSpc>
        <a:spcBef>
          <a:spcPct val="0"/>
        </a:spcBef>
        <a:buNone/>
        <a:tabLst>
          <a:tab pos="444489" algn="l"/>
        </a:tabLst>
        <a:defRPr sz="2400" b="1" kern="1200" cap="all" spc="6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just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700" b="1" kern="1200" cap="none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just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2pPr>
      <a:lvl3pPr marL="180970" indent="-180970" algn="just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899C"/>
        </a:buClr>
        <a:buFont typeface="Wingdings" panose="05000000000000000000" pitchFamily="2" charset="2"/>
        <a:buChar char="§"/>
        <a:defRPr sz="1700" b="0" kern="1200" cap="none" spc="0">
          <a:solidFill>
            <a:schemeClr val="tx2"/>
          </a:solidFill>
          <a:latin typeface="+mj-lt"/>
          <a:ea typeface="+mn-ea"/>
          <a:cs typeface="+mn-cs"/>
        </a:defRPr>
      </a:lvl3pPr>
      <a:lvl4pPr marL="354004" indent="-176209" algn="just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4"/>
        </a:buClr>
        <a:buFont typeface="Wingdings" panose="05000000000000000000" pitchFamily="2" charset="2"/>
        <a:buChar char="§"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4pPr>
      <a:lvl5pPr marL="354004" indent="-269868" algn="just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rabicPeriod"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01962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338" imgH="338" progId="TCLayout.ActiveDocument.1">
                  <p:embed/>
                </p:oleObj>
              </mc:Choice>
              <mc:Fallback>
                <p:oleObj name="think-cell Folie" r:id="rId11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200"/>
              </a:lnSpc>
            </a:pPr>
            <a:endParaRPr lang="en-GB" sz="2400" b="1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9999" y="719999"/>
            <a:ext cx="10751987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999" y="1656000"/>
            <a:ext cx="10751963" cy="4140000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4" y="5731826"/>
            <a:ext cx="1259633" cy="1129004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5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9998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024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</p:sldLayoutIdLst>
  <p:hf hdr="0"/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tabLst>
          <a:tab pos="444500" algn="l"/>
        </a:tabLst>
        <a:defRPr sz="2400" b="1" kern="1200" cap="all" spc="6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just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700" b="1" kern="1200" cap="none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just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2pPr>
      <a:lvl3pPr marL="180975" indent="-180975" algn="just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00899C"/>
        </a:buClr>
        <a:buFont typeface="Wingdings" panose="05000000000000000000" pitchFamily="2" charset="2"/>
        <a:buChar char="§"/>
        <a:defRPr sz="1700" b="0" kern="1200" cap="none" spc="0">
          <a:solidFill>
            <a:schemeClr val="tx2"/>
          </a:solidFill>
          <a:latin typeface="+mj-lt"/>
          <a:ea typeface="+mn-ea"/>
          <a:cs typeface="+mn-cs"/>
        </a:defRPr>
      </a:lvl3pPr>
      <a:lvl4pPr marL="354013" indent="-176213" algn="just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4"/>
        </a:buClr>
        <a:buFont typeface="Wingdings" panose="05000000000000000000" pitchFamily="2" charset="2"/>
        <a:buChar char="§"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4pPr>
      <a:lvl5pPr marL="354013" indent="-269875" algn="just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+mj-lt"/>
        <a:buAutoNum type="arabicPeriod"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197661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338" imgH="338" progId="TCLayout.ActiveDocument.1">
                  <p:embed/>
                </p:oleObj>
              </mc:Choice>
              <mc:Fallback>
                <p:oleObj name="think-cell Folie" r:id="rId29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8"/>
            </p:custDataLst>
          </p:nvPr>
        </p:nvSpPr>
        <p:spPr>
          <a:xfrm>
            <a:off x="0" y="4"/>
            <a:ext cx="158750" cy="158750"/>
          </a:xfrm>
          <a:prstGeom prst="rect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200"/>
              </a:lnSpc>
            </a:pPr>
            <a:endParaRPr lang="en-GB" sz="2400" b="1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0003" y="1656000"/>
            <a:ext cx="10751963" cy="4140000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686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  <p:sldLayoutId id="2147483876" r:id="rId12"/>
    <p:sldLayoutId id="2147483877" r:id="rId13"/>
    <p:sldLayoutId id="2147483878" r:id="rId14"/>
    <p:sldLayoutId id="2147483879" r:id="rId15"/>
    <p:sldLayoutId id="2147483880" r:id="rId16"/>
    <p:sldLayoutId id="2147483881" r:id="rId17"/>
    <p:sldLayoutId id="2147483882" r:id="rId18"/>
    <p:sldLayoutId id="2147483883" r:id="rId19"/>
    <p:sldLayoutId id="2147483884" r:id="rId20"/>
    <p:sldLayoutId id="2147483885" r:id="rId21"/>
    <p:sldLayoutId id="2147483886" r:id="rId22"/>
    <p:sldLayoutId id="2147483912" r:id="rId23"/>
    <p:sldLayoutId id="2147483915" r:id="rId24"/>
    <p:sldLayoutId id="2147483916" r:id="rId25"/>
  </p:sldLayoutIdLst>
  <p:hf hdr="0"/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tabLst>
          <a:tab pos="444500" algn="l"/>
        </a:tabLst>
        <a:defRPr sz="2400" b="1" kern="1200" cap="all" spc="6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FontTx/>
        <a:buNone/>
        <a:defRPr sz="1700" b="1" kern="1200" cap="none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FontTx/>
        <a:buNone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2pPr>
      <a:lvl3pPr marL="180975" indent="-180975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rgbClr val="00899C"/>
        </a:buClr>
        <a:buFont typeface="Wingdings" panose="05000000000000000000" pitchFamily="2" charset="2"/>
        <a:buChar char="§"/>
        <a:defRPr sz="1700" b="0" kern="1200" cap="none" spc="0">
          <a:solidFill>
            <a:schemeClr val="tx2"/>
          </a:solidFill>
          <a:latin typeface="+mj-lt"/>
          <a:ea typeface="+mn-ea"/>
          <a:cs typeface="+mn-cs"/>
        </a:defRPr>
      </a:lvl3pPr>
      <a:lvl4pPr marL="354013" indent="-176213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chemeClr val="accent4"/>
        </a:buClr>
        <a:buFont typeface="Wingdings" panose="05000000000000000000" pitchFamily="2" charset="2"/>
        <a:buChar char="§"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4pPr>
      <a:lvl5pPr marL="354013" indent="-269875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Font typeface="+mj-lt"/>
        <a:buAutoNum type="arabicPeriod"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056176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9" imgW="338" imgH="338" progId="TCLayout.ActiveDocument.1">
                  <p:embed/>
                </p:oleObj>
              </mc:Choice>
              <mc:Fallback>
                <p:oleObj name="think-cell Folie" r:id="rId29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>
            <p:custDataLst>
              <p:tags r:id="rId28"/>
            </p:custDataLst>
          </p:nvPr>
        </p:nvSpPr>
        <p:spPr>
          <a:xfrm>
            <a:off x="0" y="4"/>
            <a:ext cx="158750" cy="158750"/>
          </a:xfrm>
          <a:prstGeom prst="rect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2200"/>
              </a:lnSpc>
            </a:pPr>
            <a:endParaRPr lang="en-GB" sz="2400" b="1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0003" y="1656000"/>
            <a:ext cx="10751963" cy="4140000"/>
          </a:xfrm>
          <a:prstGeom prst="rect">
            <a:avLst/>
          </a:prstGeom>
        </p:spPr>
        <p:txBody>
          <a:bodyPr vert="horz" lIns="0" tIns="7200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0"/>
          <a:stretch/>
        </p:blipFill>
        <p:spPr>
          <a:xfrm>
            <a:off x="10932368" y="5731826"/>
            <a:ext cx="1259633" cy="1129004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sz="700" cap="all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22.07.2020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 cap="none" spc="5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dirty="0">
                <a:solidFill>
                  <a:srgbClr val="003E77"/>
                </a:solidFill>
              </a:rPr>
              <a:t>| Titel der Präsentation ODER der Veranstaltung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r">
              <a:defRPr sz="700" b="1" cap="none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‹Nr.›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5946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  <p:sldLayoutId id="2147483927" r:id="rId5"/>
    <p:sldLayoutId id="2147483928" r:id="rId6"/>
    <p:sldLayoutId id="2147483929" r:id="rId7"/>
    <p:sldLayoutId id="2147483930" r:id="rId8"/>
    <p:sldLayoutId id="2147483931" r:id="rId9"/>
    <p:sldLayoutId id="2147483932" r:id="rId10"/>
    <p:sldLayoutId id="2147483933" r:id="rId11"/>
    <p:sldLayoutId id="2147483934" r:id="rId12"/>
    <p:sldLayoutId id="2147483935" r:id="rId13"/>
    <p:sldLayoutId id="2147483936" r:id="rId14"/>
    <p:sldLayoutId id="2147483937" r:id="rId15"/>
    <p:sldLayoutId id="2147483938" r:id="rId16"/>
    <p:sldLayoutId id="2147483939" r:id="rId17"/>
    <p:sldLayoutId id="2147483940" r:id="rId18"/>
    <p:sldLayoutId id="2147483941" r:id="rId19"/>
    <p:sldLayoutId id="2147483942" r:id="rId20"/>
    <p:sldLayoutId id="2147483943" r:id="rId21"/>
    <p:sldLayoutId id="2147483944" r:id="rId22"/>
    <p:sldLayoutId id="2147483970" r:id="rId23"/>
    <p:sldLayoutId id="2147483973" r:id="rId24"/>
    <p:sldLayoutId id="2147483974" r:id="rId25"/>
  </p:sldLayoutIdLst>
  <p:hf hdr="0"/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tabLst>
          <a:tab pos="444500" algn="l"/>
        </a:tabLst>
        <a:defRPr sz="2400" b="1" kern="1200" cap="all" spc="6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FontTx/>
        <a:buNone/>
        <a:defRPr sz="1700" b="1" kern="1200" cap="none" spc="0" baseline="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FontTx/>
        <a:buNone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2pPr>
      <a:lvl3pPr marL="180975" indent="-180975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rgbClr val="00899C"/>
        </a:buClr>
        <a:buFont typeface="Wingdings" panose="05000000000000000000" pitchFamily="2" charset="2"/>
        <a:buChar char="§"/>
        <a:defRPr sz="1700" b="0" kern="1200" cap="none" spc="0">
          <a:solidFill>
            <a:schemeClr val="tx2"/>
          </a:solidFill>
          <a:latin typeface="+mj-lt"/>
          <a:ea typeface="+mn-ea"/>
          <a:cs typeface="+mn-cs"/>
        </a:defRPr>
      </a:lvl3pPr>
      <a:lvl4pPr marL="354013" indent="-176213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Clr>
          <a:schemeClr val="accent4"/>
        </a:buClr>
        <a:buFont typeface="Wingdings" panose="05000000000000000000" pitchFamily="2" charset="2"/>
        <a:buChar char="§"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4pPr>
      <a:lvl5pPr marL="354013" indent="-269875" algn="just" defTabSz="914400" rtl="0" eaLnBrk="1" latinLnBrk="0" hangingPunct="1">
        <a:lnSpc>
          <a:spcPct val="150000"/>
        </a:lnSpc>
        <a:spcBef>
          <a:spcPts val="0"/>
        </a:spcBef>
        <a:spcAft>
          <a:spcPts val="600"/>
        </a:spcAft>
        <a:buFont typeface="+mj-lt"/>
        <a:buAutoNum type="arabicPeriod"/>
        <a:defRPr sz="1700" kern="1200" cap="none" spc="0">
          <a:solidFill>
            <a:schemeClr val="tx2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5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55.xml"/><Relationship Id="rId7" Type="http://schemas.openxmlformats.org/officeDocument/2006/relationships/image" Target="../media/image15.jpe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Ответственность за нарушение </a:t>
            </a:r>
            <a:br>
              <a:rPr lang="ru-RU" dirty="0"/>
            </a:br>
            <a:r>
              <a:rPr lang="ru-RU" dirty="0"/>
              <a:t>Антимонопольных требований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ru-RU" dirty="0"/>
              <a:t>13 апреля 2021 года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720729" y="4870454"/>
            <a:ext cx="5167313" cy="587811"/>
          </a:xfrm>
        </p:spPr>
        <p:txBody>
          <a:bodyPr/>
          <a:lstStyle/>
          <a:p>
            <a:r>
              <a:rPr lang="ru-RU" dirty="0"/>
              <a:t>Александр Безбородов, LL.M, адвокат, партнер</a:t>
            </a:r>
          </a:p>
        </p:txBody>
      </p:sp>
    </p:spTree>
    <p:extLst>
      <p:ext uri="{BB962C8B-B14F-4D97-AF65-F5344CB8AC3E}">
        <p14:creationId xmlns:p14="http://schemas.microsoft.com/office/powerpoint/2010/main" val="41266760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/>
          <p:cNvSpPr>
            <a:spLocks noGrp="1"/>
          </p:cNvSpPr>
          <p:nvPr>
            <p:ph type="title"/>
          </p:nvPr>
        </p:nvSpPr>
        <p:spPr/>
        <p:txBody>
          <a:bodyPr lIns="80147" tIns="40074" rIns="80147" bIns="40074"/>
          <a:lstStyle/>
          <a:p>
            <a:r>
              <a:rPr lang="ru-RU" dirty="0"/>
              <a:t>Признаки картеля. Раздел товарного рынка</a:t>
            </a:r>
            <a:endParaRPr lang="de-DE" dirty="0"/>
          </a:p>
        </p:txBody>
      </p:sp>
      <p:sp>
        <p:nvSpPr>
          <p:cNvPr id="6" name="Rectangle 5"/>
          <p:cNvSpPr/>
          <p:nvPr/>
        </p:nvSpPr>
        <p:spPr>
          <a:xfrm>
            <a:off x="714641" y="1614200"/>
            <a:ext cx="10796058" cy="1884613"/>
          </a:xfrm>
          <a:prstGeom prst="rect">
            <a:avLst/>
          </a:prstGeom>
        </p:spPr>
        <p:txBody>
          <a:bodyPr wrap="square" lIns="91360" tIns="45680" rIns="91360" bIns="45680">
            <a:noAutofit/>
          </a:bodyPr>
          <a:lstStyle/>
          <a:p>
            <a:pPr algn="just" defTabSz="801046">
              <a:spcBef>
                <a:spcPts val="600"/>
              </a:spcBef>
            </a:pPr>
            <a:r>
              <a:rPr lang="ru-RU" sz="1600" b="1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енты заключают соглашение о распределении между ними:</a:t>
            </a:r>
          </a:p>
          <a:p>
            <a:pPr marL="285750" indent="-285750" algn="just" defTabSz="801046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ритории,</a:t>
            </a:r>
          </a:p>
          <a:p>
            <a:pPr marL="285750" indent="-285750" algn="just" defTabSz="801046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ов продажи или покупки товаров,</a:t>
            </a:r>
          </a:p>
          <a:p>
            <a:pPr marL="285750" indent="-285750" algn="just" defTabSz="801046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сортимента товаров,</a:t>
            </a:r>
          </a:p>
          <a:p>
            <a:pPr marL="285750" indent="-285750" algn="just" defTabSz="801046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агентов – продавцов или покупателей.</a:t>
            </a:r>
            <a:endParaRPr lang="en-US" sz="1600" dirty="0">
              <a:solidFill>
                <a:srgbClr val="1331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801046">
              <a:spcBef>
                <a:spcPts val="600"/>
              </a:spcBef>
            </a:pPr>
            <a:r>
              <a:rPr lang="ru-RU" sz="1600" b="1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ые доказательства наличия соглашений</a:t>
            </a:r>
          </a:p>
          <a:p>
            <a:pPr marL="285600" indent="-285600" algn="just" defTabSz="801046">
              <a:spcBef>
                <a:spcPts val="600"/>
              </a:spcBef>
              <a:buFont typeface="Wingdings" panose="05000000000000000000" pitchFamily="2" charset="2"/>
              <a:buChar char="Ø"/>
            </a:pPr>
            <a:endParaRPr lang="ru-RU" sz="1400" dirty="0">
              <a:solidFill>
                <a:srgbClr val="13315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16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1199455" y="3724082"/>
            <a:ext cx="9794220" cy="585315"/>
            <a:chOff x="295" y="3770"/>
            <a:chExt cx="5170" cy="284"/>
          </a:xfrm>
        </p:grpSpPr>
        <p:sp>
          <p:nvSpPr>
            <p:cNvPr id="9" name="Rectangle 17"/>
            <p:cNvSpPr>
              <a:spLocks noChangeArrowheads="1"/>
            </p:cNvSpPr>
            <p:nvPr/>
          </p:nvSpPr>
          <p:spPr bwMode="gray">
            <a:xfrm>
              <a:off x="295" y="3770"/>
              <a:ext cx="5170" cy="259"/>
            </a:xfrm>
            <a:prstGeom prst="rect">
              <a:avLst/>
            </a:prstGeom>
            <a:solidFill>
              <a:srgbClr val="E7E6E6"/>
            </a:solidFill>
            <a:ln>
              <a:noFill/>
            </a:ln>
            <a:effectLst/>
          </p:spPr>
          <p:txBody>
            <a:bodyPr lIns="180000" tIns="40074" rIns="80147" bIns="40074" anchor="ctr"/>
            <a:lstStyle/>
            <a:p>
              <a:pPr marL="158513" algn="just" defTabSz="801046">
                <a:lnSpc>
                  <a:spcPct val="130000"/>
                </a:lnSpc>
                <a:spcBef>
                  <a:spcPts val="600"/>
                </a:spcBef>
              </a:pPr>
              <a:r>
                <a:rPr lang="ru-RU" sz="1600" dirty="0">
                  <a:solidFill>
                    <a:srgbClr val="1331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дел клиентов между конкурентами</a:t>
              </a:r>
            </a:p>
          </p:txBody>
        </p:sp>
        <p:sp>
          <p:nvSpPr>
            <p:cNvPr id="10" name="AutoShape 18"/>
            <p:cNvSpPr>
              <a:spLocks noChangeArrowheads="1"/>
            </p:cNvSpPr>
            <p:nvPr/>
          </p:nvSpPr>
          <p:spPr bwMode="gray">
            <a:xfrm rot="5400000">
              <a:off x="221" y="3844"/>
              <a:ext cx="284" cy="136"/>
            </a:xfrm>
            <a:prstGeom prst="triangle">
              <a:avLst>
                <a:gd name="adj" fmla="val 50000"/>
              </a:avLst>
            </a:prstGeom>
            <a:solidFill>
              <a:srgbClr val="003E77"/>
            </a:solidFill>
            <a:ln w="2857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wrap="none" lIns="82647" tIns="42976" rIns="82647" bIns="42976" anchor="ctr"/>
            <a:lstStyle>
              <a:lvl1pPr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419100" indent="-285750"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2pPr>
              <a:lvl3pPr marL="839788" indent="-230188"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3pPr>
              <a:lvl4pPr marL="1258888" indent="-228600"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4pPr>
              <a:lvl5pPr marL="1679575" indent="-228600"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5pPr>
              <a:lvl6pPr marL="2136775" indent="-228600" defTabSz="720725" eaLnBrk="0" fontAlgn="base" hangingPunct="0">
                <a:lnSpc>
                  <a:spcPts val="2025"/>
                </a:lnSpc>
                <a:spcBef>
                  <a:spcPct val="0"/>
                </a:spcBef>
                <a:spcAft>
                  <a:spcPct val="20000"/>
                </a:spcAft>
                <a:buClr>
                  <a:srgbClr val="DBE0E4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Arial" pitchFamily="34" charset="0"/>
                </a:defRPr>
              </a:lvl6pPr>
              <a:lvl7pPr marL="2593975" indent="-228600" defTabSz="720725" eaLnBrk="0" fontAlgn="base" hangingPunct="0">
                <a:lnSpc>
                  <a:spcPts val="2025"/>
                </a:lnSpc>
                <a:spcBef>
                  <a:spcPct val="0"/>
                </a:spcBef>
                <a:spcAft>
                  <a:spcPct val="20000"/>
                </a:spcAft>
                <a:buClr>
                  <a:srgbClr val="DBE0E4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Arial" pitchFamily="34" charset="0"/>
                </a:defRPr>
              </a:lvl7pPr>
              <a:lvl8pPr marL="3051175" indent="-228600" defTabSz="720725" eaLnBrk="0" fontAlgn="base" hangingPunct="0">
                <a:lnSpc>
                  <a:spcPts val="2025"/>
                </a:lnSpc>
                <a:spcBef>
                  <a:spcPct val="0"/>
                </a:spcBef>
                <a:spcAft>
                  <a:spcPct val="20000"/>
                </a:spcAft>
                <a:buClr>
                  <a:srgbClr val="DBE0E4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Arial" pitchFamily="34" charset="0"/>
                </a:defRPr>
              </a:lvl8pPr>
              <a:lvl9pPr marL="3508375" indent="-228600" defTabSz="720725" eaLnBrk="0" fontAlgn="base" hangingPunct="0">
                <a:lnSpc>
                  <a:spcPts val="2025"/>
                </a:lnSpc>
                <a:spcBef>
                  <a:spcPct val="0"/>
                </a:spcBef>
                <a:spcAft>
                  <a:spcPct val="20000"/>
                </a:spcAft>
                <a:buClr>
                  <a:srgbClr val="DBE0E4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0" fontAlgn="base" hangingPunct="0">
                <a:lnSpc>
                  <a:spcPct val="130000"/>
                </a:lnSpc>
                <a:spcBef>
                  <a:spcPts val="600"/>
                </a:spcBef>
                <a:buClr>
                  <a:srgbClr val="00377A"/>
                </a:buClr>
                <a:buSzPct val="70000"/>
                <a:buFont typeface="Wingdings" pitchFamily="2" charset="2"/>
                <a:buNone/>
              </a:pPr>
              <a:endParaRPr lang="en-US" altLang="ru-RU" sz="1400" dirty="0">
                <a:solidFill>
                  <a:srgbClr val="00377A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8" name="Group 16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1198543" y="4257559"/>
            <a:ext cx="9794220" cy="568826"/>
            <a:chOff x="295" y="3716"/>
            <a:chExt cx="5170" cy="276"/>
          </a:xfrm>
        </p:grpSpPr>
        <p:sp>
          <p:nvSpPr>
            <p:cNvPr id="11" name="Rectangle 17"/>
            <p:cNvSpPr>
              <a:spLocks noChangeArrowheads="1"/>
            </p:cNvSpPr>
            <p:nvPr/>
          </p:nvSpPr>
          <p:spPr bwMode="gray">
            <a:xfrm>
              <a:off x="295" y="3740"/>
              <a:ext cx="5170" cy="243"/>
            </a:xfrm>
            <a:prstGeom prst="rect">
              <a:avLst/>
            </a:prstGeom>
            <a:solidFill>
              <a:srgbClr val="E7E6E6"/>
            </a:solidFill>
            <a:ln>
              <a:noFill/>
            </a:ln>
            <a:effectLst/>
          </p:spPr>
          <p:txBody>
            <a:bodyPr lIns="180000" tIns="40074" rIns="80147" bIns="40074" anchor="ctr"/>
            <a:lstStyle/>
            <a:p>
              <a:pPr marL="158513" algn="just" defTabSz="801046">
                <a:lnSpc>
                  <a:spcPct val="130000"/>
                </a:lnSpc>
                <a:spcBef>
                  <a:spcPts val="600"/>
                </a:spcBef>
              </a:pPr>
              <a:r>
                <a:rPr lang="ru-RU" sz="1600" dirty="0">
                  <a:solidFill>
                    <a:srgbClr val="1331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мпании не увеличивают предложение товара несмотря на наличие спроса</a:t>
              </a:r>
            </a:p>
          </p:txBody>
        </p:sp>
        <p:sp>
          <p:nvSpPr>
            <p:cNvPr id="12" name="AutoShape 18"/>
            <p:cNvSpPr>
              <a:spLocks noChangeArrowheads="1"/>
            </p:cNvSpPr>
            <p:nvPr/>
          </p:nvSpPr>
          <p:spPr bwMode="gray">
            <a:xfrm rot="5400000">
              <a:off x="232" y="3786"/>
              <a:ext cx="276" cy="136"/>
            </a:xfrm>
            <a:prstGeom prst="triangle">
              <a:avLst>
                <a:gd name="adj" fmla="val 50000"/>
              </a:avLst>
            </a:prstGeom>
            <a:solidFill>
              <a:srgbClr val="003E77"/>
            </a:solidFill>
            <a:ln w="2857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wrap="none" lIns="82647" tIns="42976" rIns="82647" bIns="42976" anchor="ctr"/>
            <a:lstStyle>
              <a:lvl1pPr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419100" indent="-285750"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2pPr>
              <a:lvl3pPr marL="839788" indent="-230188"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3pPr>
              <a:lvl4pPr marL="1258888" indent="-228600"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4pPr>
              <a:lvl5pPr marL="1679575" indent="-228600"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5pPr>
              <a:lvl6pPr marL="2136775" indent="-228600" defTabSz="720725" eaLnBrk="0" fontAlgn="base" hangingPunct="0">
                <a:lnSpc>
                  <a:spcPts val="2025"/>
                </a:lnSpc>
                <a:spcBef>
                  <a:spcPct val="0"/>
                </a:spcBef>
                <a:spcAft>
                  <a:spcPct val="20000"/>
                </a:spcAft>
                <a:buClr>
                  <a:srgbClr val="DBE0E4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Arial" pitchFamily="34" charset="0"/>
                </a:defRPr>
              </a:lvl6pPr>
              <a:lvl7pPr marL="2593975" indent="-228600" defTabSz="720725" eaLnBrk="0" fontAlgn="base" hangingPunct="0">
                <a:lnSpc>
                  <a:spcPts val="2025"/>
                </a:lnSpc>
                <a:spcBef>
                  <a:spcPct val="0"/>
                </a:spcBef>
                <a:spcAft>
                  <a:spcPct val="20000"/>
                </a:spcAft>
                <a:buClr>
                  <a:srgbClr val="DBE0E4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Arial" pitchFamily="34" charset="0"/>
                </a:defRPr>
              </a:lvl7pPr>
              <a:lvl8pPr marL="3051175" indent="-228600" defTabSz="720725" eaLnBrk="0" fontAlgn="base" hangingPunct="0">
                <a:lnSpc>
                  <a:spcPts val="2025"/>
                </a:lnSpc>
                <a:spcBef>
                  <a:spcPct val="0"/>
                </a:spcBef>
                <a:spcAft>
                  <a:spcPct val="20000"/>
                </a:spcAft>
                <a:buClr>
                  <a:srgbClr val="DBE0E4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Arial" pitchFamily="34" charset="0"/>
                </a:defRPr>
              </a:lvl8pPr>
              <a:lvl9pPr marL="3508375" indent="-228600" defTabSz="720725" eaLnBrk="0" fontAlgn="base" hangingPunct="0">
                <a:lnSpc>
                  <a:spcPts val="2025"/>
                </a:lnSpc>
                <a:spcBef>
                  <a:spcPct val="0"/>
                </a:spcBef>
                <a:spcAft>
                  <a:spcPct val="20000"/>
                </a:spcAft>
                <a:buClr>
                  <a:srgbClr val="DBE0E4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0" fontAlgn="base" hangingPunct="0">
                <a:lnSpc>
                  <a:spcPct val="130000"/>
                </a:lnSpc>
                <a:spcBef>
                  <a:spcPts val="600"/>
                </a:spcBef>
                <a:buClr>
                  <a:srgbClr val="00377A"/>
                </a:buClr>
                <a:buSzPct val="70000"/>
                <a:buFont typeface="Wingdings" pitchFamily="2" charset="2"/>
                <a:buNone/>
              </a:pPr>
              <a:endParaRPr lang="en-US" altLang="ru-RU" sz="1400" dirty="0">
                <a:solidFill>
                  <a:srgbClr val="00377A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3" name="Group 16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197630" y="4836545"/>
            <a:ext cx="9794220" cy="607993"/>
            <a:chOff x="295" y="3756"/>
            <a:chExt cx="5170" cy="227"/>
          </a:xfrm>
        </p:grpSpPr>
        <p:sp>
          <p:nvSpPr>
            <p:cNvPr id="14" name="Rectangle 17"/>
            <p:cNvSpPr>
              <a:spLocks noChangeArrowheads="1"/>
            </p:cNvSpPr>
            <p:nvPr/>
          </p:nvSpPr>
          <p:spPr bwMode="gray">
            <a:xfrm>
              <a:off x="295" y="3756"/>
              <a:ext cx="5170" cy="227"/>
            </a:xfrm>
            <a:prstGeom prst="rect">
              <a:avLst/>
            </a:prstGeom>
            <a:solidFill>
              <a:srgbClr val="E7E6E6"/>
            </a:solidFill>
            <a:ln>
              <a:noFill/>
            </a:ln>
            <a:effectLst/>
          </p:spPr>
          <p:txBody>
            <a:bodyPr lIns="180000" tIns="40074" rIns="80147" bIns="40074" anchor="ctr"/>
            <a:lstStyle/>
            <a:p>
              <a:pPr marL="158513" algn="just" defTabSz="801046">
                <a:lnSpc>
                  <a:spcPct val="130000"/>
                </a:lnSpc>
                <a:spcBef>
                  <a:spcPts val="600"/>
                </a:spcBef>
              </a:pPr>
              <a:r>
                <a:rPr lang="ru-RU" sz="1600" dirty="0">
                  <a:solidFill>
                    <a:srgbClr val="1331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мпания не проявляет интереса к определенным клиентам и/или территориям, где осуществляет деятельность ее конкурент</a:t>
              </a:r>
            </a:p>
          </p:txBody>
        </p:sp>
        <p:sp>
          <p:nvSpPr>
            <p:cNvPr id="15" name="AutoShape 18"/>
            <p:cNvSpPr>
              <a:spLocks noChangeArrowheads="1"/>
            </p:cNvSpPr>
            <p:nvPr/>
          </p:nvSpPr>
          <p:spPr bwMode="gray">
            <a:xfrm rot="5400000">
              <a:off x="256" y="3802"/>
              <a:ext cx="227" cy="136"/>
            </a:xfrm>
            <a:prstGeom prst="triangle">
              <a:avLst>
                <a:gd name="adj" fmla="val 50000"/>
              </a:avLst>
            </a:prstGeom>
            <a:solidFill>
              <a:srgbClr val="003E77"/>
            </a:solidFill>
            <a:ln w="2857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wrap="none" lIns="82647" tIns="42976" rIns="82647" bIns="42976" anchor="ctr"/>
            <a:lstStyle>
              <a:lvl1pPr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419100" indent="-285750"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2pPr>
              <a:lvl3pPr marL="839788" indent="-230188"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3pPr>
              <a:lvl4pPr marL="1258888" indent="-228600"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4pPr>
              <a:lvl5pPr marL="1679575" indent="-228600"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5pPr>
              <a:lvl6pPr marL="2136775" indent="-228600" defTabSz="720725" eaLnBrk="0" fontAlgn="base" hangingPunct="0">
                <a:lnSpc>
                  <a:spcPts val="2025"/>
                </a:lnSpc>
                <a:spcBef>
                  <a:spcPct val="0"/>
                </a:spcBef>
                <a:spcAft>
                  <a:spcPct val="20000"/>
                </a:spcAft>
                <a:buClr>
                  <a:srgbClr val="DBE0E4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Arial" pitchFamily="34" charset="0"/>
                </a:defRPr>
              </a:lvl6pPr>
              <a:lvl7pPr marL="2593975" indent="-228600" defTabSz="720725" eaLnBrk="0" fontAlgn="base" hangingPunct="0">
                <a:lnSpc>
                  <a:spcPts val="2025"/>
                </a:lnSpc>
                <a:spcBef>
                  <a:spcPct val="0"/>
                </a:spcBef>
                <a:spcAft>
                  <a:spcPct val="20000"/>
                </a:spcAft>
                <a:buClr>
                  <a:srgbClr val="DBE0E4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Arial" pitchFamily="34" charset="0"/>
                </a:defRPr>
              </a:lvl7pPr>
              <a:lvl8pPr marL="3051175" indent="-228600" defTabSz="720725" eaLnBrk="0" fontAlgn="base" hangingPunct="0">
                <a:lnSpc>
                  <a:spcPts val="2025"/>
                </a:lnSpc>
                <a:spcBef>
                  <a:spcPct val="0"/>
                </a:spcBef>
                <a:spcAft>
                  <a:spcPct val="20000"/>
                </a:spcAft>
                <a:buClr>
                  <a:srgbClr val="DBE0E4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Arial" pitchFamily="34" charset="0"/>
                </a:defRPr>
              </a:lvl8pPr>
              <a:lvl9pPr marL="3508375" indent="-228600" defTabSz="720725" eaLnBrk="0" fontAlgn="base" hangingPunct="0">
                <a:lnSpc>
                  <a:spcPts val="2025"/>
                </a:lnSpc>
                <a:spcBef>
                  <a:spcPct val="0"/>
                </a:spcBef>
                <a:spcAft>
                  <a:spcPct val="20000"/>
                </a:spcAft>
                <a:buClr>
                  <a:srgbClr val="DBE0E4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0" fontAlgn="base" hangingPunct="0">
                <a:lnSpc>
                  <a:spcPct val="130000"/>
                </a:lnSpc>
                <a:spcBef>
                  <a:spcPts val="600"/>
                </a:spcBef>
                <a:buClr>
                  <a:srgbClr val="00377A"/>
                </a:buClr>
                <a:buSzPct val="70000"/>
                <a:buFont typeface="Wingdings" pitchFamily="2" charset="2"/>
                <a:buNone/>
              </a:pPr>
              <a:endParaRPr lang="en-US" altLang="ru-RU" sz="1400" dirty="0">
                <a:solidFill>
                  <a:srgbClr val="00377A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6" name="Group 16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1211046" y="5478950"/>
            <a:ext cx="9780364" cy="607993"/>
            <a:chOff x="288" y="3756"/>
            <a:chExt cx="5177" cy="227"/>
          </a:xfrm>
        </p:grpSpPr>
        <p:sp>
          <p:nvSpPr>
            <p:cNvPr id="17" name="Rectangle 17"/>
            <p:cNvSpPr>
              <a:spLocks noChangeArrowheads="1"/>
            </p:cNvSpPr>
            <p:nvPr/>
          </p:nvSpPr>
          <p:spPr bwMode="gray">
            <a:xfrm>
              <a:off x="295" y="3756"/>
              <a:ext cx="5170" cy="227"/>
            </a:xfrm>
            <a:prstGeom prst="rect">
              <a:avLst/>
            </a:prstGeom>
            <a:solidFill>
              <a:srgbClr val="E7E6E6"/>
            </a:solidFill>
            <a:ln>
              <a:noFill/>
            </a:ln>
            <a:effectLst/>
          </p:spPr>
          <p:txBody>
            <a:bodyPr lIns="180000" tIns="40074" rIns="80147" bIns="40074" anchor="ctr"/>
            <a:lstStyle/>
            <a:p>
              <a:pPr marL="158513" algn="just" defTabSz="801046">
                <a:lnSpc>
                  <a:spcPct val="130000"/>
                </a:lnSpc>
                <a:spcBef>
                  <a:spcPts val="600"/>
                </a:spcBef>
              </a:pPr>
              <a:r>
                <a:rPr lang="ru-RU" sz="1600" dirty="0">
                  <a:solidFill>
                    <a:srgbClr val="13315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нкуренты работают в определенных географических рынках (к примеру, один работает в Москве, а второй - в Санкт-Петербурге)</a:t>
              </a:r>
            </a:p>
          </p:txBody>
        </p:sp>
        <p:sp>
          <p:nvSpPr>
            <p:cNvPr id="18" name="AutoShape 18"/>
            <p:cNvSpPr>
              <a:spLocks noChangeArrowheads="1"/>
            </p:cNvSpPr>
            <p:nvPr/>
          </p:nvSpPr>
          <p:spPr bwMode="gray">
            <a:xfrm rot="5400000">
              <a:off x="242" y="3802"/>
              <a:ext cx="227" cy="136"/>
            </a:xfrm>
            <a:prstGeom prst="triangle">
              <a:avLst>
                <a:gd name="adj" fmla="val 50000"/>
              </a:avLst>
            </a:prstGeom>
            <a:solidFill>
              <a:srgbClr val="003E77"/>
            </a:solidFill>
            <a:ln w="2857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wrap="none" lIns="82647" tIns="42976" rIns="82647" bIns="42976" anchor="ctr"/>
            <a:lstStyle>
              <a:lvl1pPr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1pPr>
              <a:lvl2pPr marL="419100" indent="-285750"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2pPr>
              <a:lvl3pPr marL="839788" indent="-230188"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3pPr>
              <a:lvl4pPr marL="1258888" indent="-228600"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4pPr>
              <a:lvl5pPr marL="1679575" indent="-228600" algn="l" defTabSz="720725">
                <a:buClr>
                  <a:srgbClr val="DBE0E4"/>
                </a:buClr>
                <a:defRPr sz="1500">
                  <a:solidFill>
                    <a:schemeClr val="tx1"/>
                  </a:solidFill>
                  <a:latin typeface="Arial" pitchFamily="34" charset="0"/>
                </a:defRPr>
              </a:lvl5pPr>
              <a:lvl6pPr marL="2136775" indent="-228600" defTabSz="720725" eaLnBrk="0" fontAlgn="base" hangingPunct="0">
                <a:lnSpc>
                  <a:spcPts val="2025"/>
                </a:lnSpc>
                <a:spcBef>
                  <a:spcPct val="0"/>
                </a:spcBef>
                <a:spcAft>
                  <a:spcPct val="20000"/>
                </a:spcAft>
                <a:buClr>
                  <a:srgbClr val="DBE0E4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Arial" pitchFamily="34" charset="0"/>
                </a:defRPr>
              </a:lvl6pPr>
              <a:lvl7pPr marL="2593975" indent="-228600" defTabSz="720725" eaLnBrk="0" fontAlgn="base" hangingPunct="0">
                <a:lnSpc>
                  <a:spcPts val="2025"/>
                </a:lnSpc>
                <a:spcBef>
                  <a:spcPct val="0"/>
                </a:spcBef>
                <a:spcAft>
                  <a:spcPct val="20000"/>
                </a:spcAft>
                <a:buClr>
                  <a:srgbClr val="DBE0E4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Arial" pitchFamily="34" charset="0"/>
                </a:defRPr>
              </a:lvl7pPr>
              <a:lvl8pPr marL="3051175" indent="-228600" defTabSz="720725" eaLnBrk="0" fontAlgn="base" hangingPunct="0">
                <a:lnSpc>
                  <a:spcPts val="2025"/>
                </a:lnSpc>
                <a:spcBef>
                  <a:spcPct val="0"/>
                </a:spcBef>
                <a:spcAft>
                  <a:spcPct val="20000"/>
                </a:spcAft>
                <a:buClr>
                  <a:srgbClr val="DBE0E4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Arial" pitchFamily="34" charset="0"/>
                </a:defRPr>
              </a:lvl8pPr>
              <a:lvl9pPr marL="3508375" indent="-228600" defTabSz="720725" eaLnBrk="0" fontAlgn="base" hangingPunct="0">
                <a:lnSpc>
                  <a:spcPts val="2025"/>
                </a:lnSpc>
                <a:spcBef>
                  <a:spcPct val="0"/>
                </a:spcBef>
                <a:spcAft>
                  <a:spcPct val="20000"/>
                </a:spcAft>
                <a:buClr>
                  <a:srgbClr val="DBE0E4"/>
                </a:buClr>
                <a:buFont typeface="Wingdings" pitchFamily="2" charset="2"/>
                <a:buChar char="§"/>
                <a:defRPr sz="15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0" fontAlgn="base" hangingPunct="0">
                <a:lnSpc>
                  <a:spcPct val="130000"/>
                </a:lnSpc>
                <a:spcBef>
                  <a:spcPts val="600"/>
                </a:spcBef>
                <a:buClr>
                  <a:srgbClr val="00377A"/>
                </a:buClr>
                <a:buSzPct val="70000"/>
                <a:buFont typeface="Wingdings" pitchFamily="2" charset="2"/>
                <a:buNone/>
              </a:pPr>
              <a:endParaRPr lang="en-US" altLang="ru-RU" sz="1400" dirty="0">
                <a:solidFill>
                  <a:srgbClr val="00377A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1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sp>
        <p:nvSpPr>
          <p:cNvPr id="23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</p:spPr>
        <p:txBody>
          <a:bodyPr/>
          <a:lstStyle/>
          <a:p>
            <a:fld id="{117E5629-5E8C-4ACA-B14E-CD150F30CCDD}" type="slidenum">
              <a:rPr lang="en-GB" noProof="0" smtClean="0"/>
              <a:pPr/>
              <a:t>10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098709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 lIns="80147" tIns="40074" rIns="80147" bIns="40074"/>
          <a:lstStyle/>
          <a:p>
            <a:r>
              <a:rPr lang="ru-RU" dirty="0"/>
              <a:t>Ответственность за заключение картельных соглашений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0805923"/>
              </p:ext>
            </p:extLst>
          </p:nvPr>
        </p:nvGraphicFramePr>
        <p:xfrm>
          <a:off x="730250" y="1631575"/>
          <a:ext cx="10785474" cy="42707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38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595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319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0281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ы</a:t>
                      </a:r>
                      <a:r>
                        <a:rPr lang="ru-RU" sz="180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тветственности</a:t>
                      </a:r>
                      <a:endParaRPr lang="ru-RU" sz="18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0" marB="0" anchor="ctr">
                    <a:solidFill>
                      <a:srgbClr val="003E7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ания</a:t>
                      </a:r>
                    </a:p>
                  </a:txBody>
                  <a:tcPr marL="121920" marR="121920" marT="0" marB="0" anchor="ctr">
                    <a:solidFill>
                      <a:srgbClr val="003E7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жностное лицо компании</a:t>
                      </a:r>
                    </a:p>
                  </a:txBody>
                  <a:tcPr marL="121920" marR="121920" marT="0" marB="0" anchor="ctr">
                    <a:solidFill>
                      <a:srgbClr val="003E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2813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дминистративная ответственность</a:t>
                      </a:r>
                    </a:p>
                  </a:txBody>
                  <a:tcPr marL="121920" marR="121920" marT="0" marB="0" anchor="ctr">
                    <a:solidFill>
                      <a:srgbClr val="003E7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6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траф от 0,03</a:t>
                      </a:r>
                      <a:r>
                        <a:rPr lang="ru-RU" sz="1600" b="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0,15 размера суммы выручки правонарушителя от реализации товара,</a:t>
                      </a:r>
                      <a:r>
                        <a:rPr lang="ru-RU" sz="1600" b="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о </a:t>
                      </a:r>
                      <a:r>
                        <a:rPr lang="ru-RU" sz="16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менее</a:t>
                      </a:r>
                      <a:r>
                        <a:rPr lang="ru-RU" sz="1600" b="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 000 рублей</a:t>
                      </a: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траф от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 000 до 50 000 рублей</a:t>
                      </a: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4448">
                <a:tc vMerge="1">
                  <a:txBody>
                    <a:bodyPr/>
                    <a:lstStyle/>
                    <a:p>
                      <a:pPr algn="just"/>
                      <a:endParaRPr lang="ru-RU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4F81BD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сквалификация </a:t>
                      </a:r>
                      <a:r>
                        <a:rPr lang="ru-RU" sz="1500" b="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срок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1 года до 3 лет</a:t>
                      </a:r>
                      <a:endParaRPr lang="ru-RU" sz="1500" b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0" marB="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2813">
                <a:tc rowSpan="3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головная ответственность</a:t>
                      </a:r>
                    </a:p>
                  </a:txBody>
                  <a:tcPr marL="121920" marR="121920" marT="0" marB="0" anchor="ctr">
                    <a:solidFill>
                      <a:srgbClr val="003E7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траф от 300</a:t>
                      </a:r>
                      <a:r>
                        <a:rPr lang="ru-RU" sz="1500" b="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00 до 500 000 рублей, либо</a:t>
                      </a:r>
                      <a:endParaRPr lang="ru-RU" sz="1500" b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62444">
                <a:tc vMerge="1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4F81BD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нудительные работы на срок до 3 </a:t>
                      </a:r>
                      <a:r>
                        <a:rPr lang="ru-RU" sz="1500" b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т с </a:t>
                      </a:r>
                      <a:r>
                        <a:rPr lang="ru-RU" sz="15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сквалификацией,</a:t>
                      </a:r>
                      <a:r>
                        <a:rPr lang="ru-RU" sz="1500" b="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5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бо</a:t>
                      </a:r>
                    </a:p>
                  </a:txBody>
                  <a:tcPr marL="121920" marR="121920" marT="0" marB="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05371">
                <a:tc vMerge="1"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4F81BD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5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шение свободы на срок до 3 лет с дисквалификацией</a:t>
                      </a: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sp>
        <p:nvSpPr>
          <p:cNvPr id="10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</p:spPr>
        <p:txBody>
          <a:bodyPr/>
          <a:lstStyle/>
          <a:p>
            <a:fld id="{117E5629-5E8C-4ACA-B14E-CD150F30CCDD}" type="slidenum">
              <a:rPr lang="en-GB" noProof="0" smtClean="0"/>
              <a:pPr/>
              <a:t>11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977035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5327506"/>
          </a:xfrm>
        </p:spPr>
        <p:txBody>
          <a:bodyPr lIns="80147" tIns="40074" rIns="80147" bIns="40074"/>
          <a:lstStyle/>
          <a:p>
            <a:r>
              <a:rPr lang="ru-RU" dirty="0"/>
              <a:t>Уголовная ответственность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sp>
        <p:nvSpPr>
          <p:cNvPr id="10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</p:spPr>
        <p:txBody>
          <a:bodyPr/>
          <a:lstStyle/>
          <a:p>
            <a:fld id="{117E5629-5E8C-4ACA-B14E-CD150F30CCDD}" type="slidenum">
              <a:rPr lang="en-GB" noProof="0" smtClean="0"/>
              <a:pPr/>
              <a:t>12</a:t>
            </a:fld>
            <a:endParaRPr lang="en-GB" noProof="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918" y="1194954"/>
            <a:ext cx="6826827" cy="504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3811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quarter" idx="13"/>
          </p:nvPr>
        </p:nvSpPr>
        <p:spPr>
          <a:xfrm>
            <a:off x="720003" y="1199214"/>
            <a:ext cx="10342737" cy="4596786"/>
          </a:xfrm>
        </p:spPr>
        <p:txBody>
          <a:bodyPr/>
          <a:lstStyle/>
          <a:p>
            <a:endParaRPr lang="ru-RU" sz="1400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«Антикартельный пакет»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430692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500746" cy="144000"/>
          </a:xfrm>
        </p:spPr>
        <p:txBody>
          <a:bodyPr/>
          <a:lstStyle/>
          <a:p>
            <a:r>
              <a:rPr lang="de-DE"/>
              <a:t>| </a:t>
            </a:r>
            <a:r>
              <a:rPr lang="ru-RU"/>
              <a:t>Антимонопольное регулирование в Российской Федер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8692" cy="144000"/>
          </a:xfrm>
        </p:spPr>
        <p:txBody>
          <a:bodyPr/>
          <a:lstStyle/>
          <a:p>
            <a:fld id="{55B617DF-0598-4CB7-9ACB-BD8355A1A30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7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718258" y="2493628"/>
            <a:ext cx="10418222" cy="643760"/>
          </a:xfrm>
          <a:prstGeom prst="rect">
            <a:avLst/>
          </a:prstGeom>
          <a:solidFill>
            <a:srgbClr val="E7E6E6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lIns="379640" tIns="42920" rIns="82529" bIns="42920" anchor="ctr"/>
          <a:lstStyle/>
          <a:p>
            <a:pPr algn="just" defTabSz="781572">
              <a:spcBef>
                <a:spcPts val="600"/>
              </a:spcBef>
              <a:buClr>
                <a:srgbClr val="00377A"/>
              </a:buClr>
              <a:buSzPct val="70000"/>
              <a:defRPr/>
            </a:pP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</a:t>
            </a: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а давности до 6 лет при наличии признаков уголовно наказуемого картеля; </a:t>
            </a:r>
          </a:p>
        </p:txBody>
      </p:sp>
      <p:sp>
        <p:nvSpPr>
          <p:cNvPr id="8" name="AutoShape 88"/>
          <p:cNvSpPr>
            <a:spLocks noChangeArrowheads="1"/>
          </p:cNvSpPr>
          <p:nvPr/>
        </p:nvSpPr>
        <p:spPr bwMode="gray">
          <a:xfrm rot="5400000">
            <a:off x="511401" y="2673834"/>
            <a:ext cx="662651" cy="264457"/>
          </a:xfrm>
          <a:prstGeom prst="triangle">
            <a:avLst>
              <a:gd name="adj" fmla="val 50000"/>
            </a:avLst>
          </a:prstGeom>
          <a:solidFill>
            <a:srgbClr val="003E77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82529" tIns="42920" rIns="82529" bIns="42920" anchor="ctr"/>
          <a:lstStyle>
            <a:lvl1pPr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7A"/>
              </a:buClr>
              <a:buSzPct val="70000"/>
              <a:buFont typeface="Wingdings" pitchFamily="2" charset="2"/>
              <a:buNone/>
              <a:defRPr/>
            </a:pP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707519" y="3128459"/>
            <a:ext cx="10429204" cy="618526"/>
          </a:xfrm>
          <a:prstGeom prst="rect">
            <a:avLst/>
          </a:prstGeom>
          <a:solidFill>
            <a:srgbClr val="E7E6E6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lIns="379640" tIns="42920" rIns="82529" bIns="42920" anchor="ctr"/>
          <a:lstStyle/>
          <a:p>
            <a:pPr algn="just">
              <a:spcBef>
                <a:spcPts val="600"/>
              </a:spcBef>
            </a:pP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ширение полномочий ФАС РФ в части права изъятия (выемки) документов; </a:t>
            </a:r>
          </a:p>
        </p:txBody>
      </p:sp>
      <p:sp>
        <p:nvSpPr>
          <p:cNvPr id="10" name="AutoShape 88"/>
          <p:cNvSpPr>
            <a:spLocks noChangeArrowheads="1"/>
          </p:cNvSpPr>
          <p:nvPr/>
        </p:nvSpPr>
        <p:spPr bwMode="gray">
          <a:xfrm rot="5400000">
            <a:off x="532083" y="3303897"/>
            <a:ext cx="618525" cy="267649"/>
          </a:xfrm>
          <a:prstGeom prst="triangle">
            <a:avLst>
              <a:gd name="adj" fmla="val 50000"/>
            </a:avLst>
          </a:prstGeom>
          <a:solidFill>
            <a:srgbClr val="003E77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82529" tIns="42920" rIns="82529" bIns="42920" anchor="ctr"/>
          <a:lstStyle>
            <a:lvl1pPr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7A"/>
              </a:buClr>
              <a:buSzPct val="70000"/>
              <a:buFont typeface="Wingdings" pitchFamily="2" charset="2"/>
              <a:buNone/>
              <a:defRPr/>
            </a:pP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700921" y="3746984"/>
            <a:ext cx="10435950" cy="646694"/>
          </a:xfrm>
          <a:prstGeom prst="rect">
            <a:avLst/>
          </a:prstGeom>
          <a:solidFill>
            <a:srgbClr val="E7E6E6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lIns="379640" tIns="42920" rIns="82529" bIns="42920" anchor="ctr"/>
          <a:lstStyle/>
          <a:p>
            <a:pPr algn="just">
              <a:spcBef>
                <a:spcPts val="600"/>
              </a:spcBef>
            </a:pP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ФАС РФ права на получение материалов оперативно-розыскной деятельности;</a:t>
            </a:r>
          </a:p>
        </p:txBody>
      </p:sp>
      <p:sp>
        <p:nvSpPr>
          <p:cNvPr id="12" name="AutoShape 88"/>
          <p:cNvSpPr>
            <a:spLocks noChangeArrowheads="1"/>
          </p:cNvSpPr>
          <p:nvPr/>
        </p:nvSpPr>
        <p:spPr bwMode="gray">
          <a:xfrm rot="5400000">
            <a:off x="509673" y="3942860"/>
            <a:ext cx="669203" cy="277453"/>
          </a:xfrm>
          <a:prstGeom prst="triangle">
            <a:avLst>
              <a:gd name="adj" fmla="val 50000"/>
            </a:avLst>
          </a:prstGeom>
          <a:solidFill>
            <a:srgbClr val="003E77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82529" tIns="42920" rIns="82529" bIns="42920" anchor="ctr"/>
          <a:lstStyle>
            <a:lvl1pPr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7A"/>
              </a:buClr>
              <a:buSzPct val="70000"/>
              <a:buFont typeface="Wingdings" pitchFamily="2" charset="2"/>
              <a:buNone/>
              <a:defRPr/>
            </a:pP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729690" y="4393678"/>
            <a:ext cx="10406532" cy="706978"/>
          </a:xfrm>
          <a:prstGeom prst="rect">
            <a:avLst/>
          </a:prstGeom>
          <a:solidFill>
            <a:srgbClr val="E7E6E6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lIns="379640" tIns="42920" rIns="82529" bIns="42920" anchor="ctr"/>
          <a:lstStyle/>
          <a:p>
            <a:pPr algn="just">
              <a:spcBef>
                <a:spcPts val="600"/>
              </a:spcBef>
            </a:pP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ширение полномочий ФАС РФ в части получения персональных данных и данных об абонентах услуг связи; </a:t>
            </a:r>
          </a:p>
        </p:txBody>
      </p:sp>
      <p:sp>
        <p:nvSpPr>
          <p:cNvPr id="14" name="AutoShape 88"/>
          <p:cNvSpPr>
            <a:spLocks noChangeArrowheads="1"/>
          </p:cNvSpPr>
          <p:nvPr/>
        </p:nvSpPr>
        <p:spPr bwMode="gray">
          <a:xfrm rot="5400000">
            <a:off x="504669" y="4622612"/>
            <a:ext cx="691633" cy="264457"/>
          </a:xfrm>
          <a:prstGeom prst="triangle">
            <a:avLst>
              <a:gd name="adj" fmla="val 50000"/>
            </a:avLst>
          </a:prstGeom>
          <a:solidFill>
            <a:srgbClr val="003E77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82529" tIns="42920" rIns="82529" bIns="42920" anchor="ctr"/>
          <a:lstStyle>
            <a:lvl1pPr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7A"/>
              </a:buClr>
              <a:buSzPct val="70000"/>
              <a:buFont typeface="Wingdings" pitchFamily="2" charset="2"/>
              <a:buNone/>
              <a:defRPr/>
            </a:pP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729690" y="5100657"/>
            <a:ext cx="10406532" cy="706978"/>
          </a:xfrm>
          <a:prstGeom prst="rect">
            <a:avLst/>
          </a:prstGeom>
          <a:solidFill>
            <a:srgbClr val="E7E6E6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lIns="379640" tIns="42920" rIns="82529" bIns="42920" anchor="ctr"/>
          <a:lstStyle/>
          <a:p>
            <a:pPr algn="just">
              <a:spcBef>
                <a:spcPts val="600"/>
              </a:spcBef>
            </a:pP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реестра участников </a:t>
            </a:r>
            <a:r>
              <a:rPr lang="ru-RU" sz="16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тиконкурентных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оглашений.</a:t>
            </a:r>
          </a:p>
        </p:txBody>
      </p:sp>
      <p:sp>
        <p:nvSpPr>
          <p:cNvPr id="16" name="AutoShape 88"/>
          <p:cNvSpPr>
            <a:spLocks noChangeArrowheads="1"/>
          </p:cNvSpPr>
          <p:nvPr/>
        </p:nvSpPr>
        <p:spPr bwMode="gray">
          <a:xfrm rot="5400000">
            <a:off x="506910" y="5316589"/>
            <a:ext cx="691633" cy="259770"/>
          </a:xfrm>
          <a:prstGeom prst="triangle">
            <a:avLst>
              <a:gd name="adj" fmla="val 50000"/>
            </a:avLst>
          </a:prstGeom>
          <a:solidFill>
            <a:srgbClr val="003E77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82529" tIns="42920" rIns="82529" bIns="42920" anchor="ctr"/>
          <a:lstStyle>
            <a:lvl1pPr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7A"/>
              </a:buClr>
              <a:buSzPct val="70000"/>
              <a:buFont typeface="Wingdings" pitchFamily="2" charset="2"/>
              <a:buNone/>
              <a:defRPr/>
            </a:pP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700921" y="1244184"/>
            <a:ext cx="10435301" cy="1249444"/>
          </a:xfrm>
          <a:prstGeom prst="rect">
            <a:avLst/>
          </a:prstGeom>
          <a:solidFill>
            <a:srgbClr val="E7E6E6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lIns="379640" tIns="42920" rIns="82529" bIns="42920" anchor="ctr"/>
          <a:lstStyle/>
          <a:p>
            <a:pPr algn="just">
              <a:spcBef>
                <a:spcPts val="600"/>
              </a:spcBef>
            </a:pPr>
            <a:r>
              <a:rPr 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иление уголовной ответственности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увеличение порога криминализации картелей по доходу и ущербу, исключение негативного последствия в виде ограничения конкуренции, разделение составов преступлений - картель на товарных рынках и картель на торгах, и дифференциация ответственности, увеличение уголовно-правовой санкции; </a:t>
            </a:r>
          </a:p>
        </p:txBody>
      </p:sp>
      <p:sp>
        <p:nvSpPr>
          <p:cNvPr id="18" name="AutoShape 88"/>
          <p:cNvSpPr>
            <a:spLocks noChangeArrowheads="1"/>
          </p:cNvSpPr>
          <p:nvPr/>
        </p:nvSpPr>
        <p:spPr bwMode="gray">
          <a:xfrm rot="5400000">
            <a:off x="267792" y="1676280"/>
            <a:ext cx="1165387" cy="301195"/>
          </a:xfrm>
          <a:prstGeom prst="triangle">
            <a:avLst>
              <a:gd name="adj" fmla="val 50000"/>
            </a:avLst>
          </a:prstGeom>
          <a:solidFill>
            <a:srgbClr val="003E77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82529" tIns="42920" rIns="82529" bIns="42920" anchor="ctr"/>
          <a:lstStyle>
            <a:lvl1pPr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7A"/>
              </a:buClr>
              <a:buSzPct val="70000"/>
              <a:buFont typeface="Wingdings" pitchFamily="2" charset="2"/>
              <a:buNone/>
              <a:defRPr/>
            </a:pP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52806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"Вертикальные" соглашения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</a:t>
            </a:r>
            <a:r>
              <a:rPr lang="ru-RU" dirty="0">
                <a:solidFill>
                  <a:srgbClr val="003E77"/>
                </a:solidFill>
              </a:rPr>
              <a:t>13</a:t>
            </a:r>
            <a:r>
              <a:rPr lang="de-DE" dirty="0">
                <a:solidFill>
                  <a:srgbClr val="003E77"/>
                </a:solidFill>
              </a:rPr>
              <a:t>.</a:t>
            </a:r>
            <a:r>
              <a:rPr lang="ru-RU" dirty="0">
                <a:solidFill>
                  <a:srgbClr val="003E77"/>
                </a:solidFill>
              </a:rPr>
              <a:t>04</a:t>
            </a:r>
            <a:r>
              <a:rPr lang="de-DE" dirty="0">
                <a:solidFill>
                  <a:srgbClr val="003E77"/>
                </a:solidFill>
              </a:rPr>
              <a:t>.202</a:t>
            </a:r>
            <a:r>
              <a:rPr lang="ru-RU" dirty="0">
                <a:solidFill>
                  <a:srgbClr val="003E77"/>
                </a:solidFill>
              </a:rPr>
              <a:t>1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>
                <a:solidFill>
                  <a:srgbClr val="003E77"/>
                </a:solidFill>
              </a:rPr>
              <a:t>| Ответственность за нарушение антимонопольных требований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14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1246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 lIns="80147" tIns="40074" rIns="80147" bIns="40074"/>
          <a:lstStyle/>
          <a:p>
            <a:r>
              <a:rPr lang="ru-RU" dirty="0"/>
              <a:t>Вертикальные соглашения</a:t>
            </a:r>
          </a:p>
        </p:txBody>
      </p:sp>
      <p:sp>
        <p:nvSpPr>
          <p:cNvPr id="6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712775" y="1541926"/>
            <a:ext cx="10828017" cy="812243"/>
          </a:xfrm>
          <a:prstGeom prst="rect">
            <a:avLst/>
          </a:prstGeom>
          <a:solidFill>
            <a:srgbClr val="4F81BD">
              <a:alpha val="50000"/>
            </a:srgbClr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none" lIns="379640" tIns="42920" rIns="82529" bIns="42920" anchor="ctr"/>
          <a:lstStyle/>
          <a:p>
            <a:pPr algn="just"/>
            <a:r>
              <a:rPr lang="ru-RU" dirty="0">
                <a:solidFill>
                  <a:srgbClr val="003E77"/>
                </a:solidFill>
                <a:cs typeface="Arial" panose="020B0604020202020204" pitchFamily="34" charset="0"/>
              </a:rPr>
              <a:t>Вертикальные соглашения – соглашения между хозяйствующими субъектами, </a:t>
            </a:r>
          </a:p>
          <a:p>
            <a:pPr algn="just"/>
            <a:r>
              <a:rPr lang="ru-RU" dirty="0">
                <a:solidFill>
                  <a:srgbClr val="003E77"/>
                </a:solidFill>
                <a:cs typeface="Arial" panose="020B0604020202020204" pitchFamily="34" charset="0"/>
              </a:rPr>
              <a:t>один из которых приобретает товар, а другой предоставляет (продает) товар.</a:t>
            </a:r>
          </a:p>
        </p:txBody>
      </p:sp>
      <p:sp>
        <p:nvSpPr>
          <p:cNvPr id="7" name="AutoShape 88"/>
          <p:cNvSpPr>
            <a:spLocks noChangeArrowheads="1"/>
          </p:cNvSpPr>
          <p:nvPr/>
        </p:nvSpPr>
        <p:spPr bwMode="gray">
          <a:xfrm rot="5400000">
            <a:off x="388450" y="1858744"/>
            <a:ext cx="839130" cy="205493"/>
          </a:xfrm>
          <a:prstGeom prst="triangle">
            <a:avLst>
              <a:gd name="adj" fmla="val 53527"/>
            </a:avLst>
          </a:prstGeom>
          <a:solidFill>
            <a:srgbClr val="003E77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82529" tIns="42920" rIns="82529" bIns="42920" anchor="ctr"/>
          <a:lstStyle/>
          <a:p>
            <a:pPr algn="just" defTabSz="820826">
              <a:buClr>
                <a:srgbClr val="003E77"/>
              </a:buClr>
              <a:buSzPct val="70000"/>
              <a:defRPr/>
            </a:pPr>
            <a:endParaRPr lang="en-US" sz="14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1330749" y="3193543"/>
            <a:ext cx="10184975" cy="1172270"/>
          </a:xfrm>
          <a:prstGeom prst="rect">
            <a:avLst/>
          </a:prstGeom>
          <a:solidFill>
            <a:srgbClr val="E7E6E6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none" lIns="379640" tIns="42920" rIns="82529" bIns="42920" anchor="ctr"/>
          <a:lstStyle/>
          <a:p>
            <a:pPr algn="just">
              <a:defRPr/>
            </a:pPr>
            <a:endParaRPr lang="ru-RU" sz="1400" dirty="0">
              <a:solidFill>
                <a:srgbClr val="003E77"/>
              </a:solidFill>
              <a:cs typeface="Arial" panose="020B0604020202020204" pitchFamily="34" charset="0"/>
            </a:endParaRPr>
          </a:p>
          <a:p>
            <a:pPr algn="just">
              <a:defRPr/>
            </a:pPr>
            <a:r>
              <a:rPr lang="ru-RU" dirty="0">
                <a:solidFill>
                  <a:srgbClr val="003E77"/>
                </a:solidFill>
                <a:cs typeface="Arial" panose="020B0604020202020204" pitchFamily="34" charset="0"/>
              </a:rPr>
              <a:t>приводят или могут привести к установлению цены перепродажи </a:t>
            </a:r>
            <a:br>
              <a:rPr lang="ru-RU" dirty="0">
                <a:solidFill>
                  <a:srgbClr val="003E77"/>
                </a:solidFill>
                <a:cs typeface="Arial" panose="020B0604020202020204" pitchFamily="34" charset="0"/>
              </a:rPr>
            </a:br>
            <a:r>
              <a:rPr lang="ru-RU" dirty="0">
                <a:solidFill>
                  <a:srgbClr val="003E77"/>
                </a:solidFill>
                <a:cs typeface="Arial" panose="020B0604020202020204" pitchFamily="34" charset="0"/>
              </a:rPr>
              <a:t>товара </a:t>
            </a:r>
            <a:r>
              <a:rPr lang="en-US" dirty="0">
                <a:solidFill>
                  <a:srgbClr val="003E77"/>
                </a:solidFill>
                <a:cs typeface="Arial" panose="020B0604020202020204" pitchFamily="34" charset="0"/>
              </a:rPr>
              <a:t>(</a:t>
            </a:r>
            <a:r>
              <a:rPr lang="en-US" b="1" dirty="0">
                <a:solidFill>
                  <a:srgbClr val="C00000"/>
                </a:solidFill>
                <a:cs typeface="Arial" panose="020B0604020202020204" pitchFamily="34" charset="0"/>
              </a:rPr>
              <a:t>N.B.</a:t>
            </a:r>
            <a:r>
              <a:rPr lang="en-US" dirty="0">
                <a:solidFill>
                  <a:srgbClr val="C00000"/>
                </a:solidFill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C00000"/>
                </a:solidFill>
                <a:cs typeface="Arial" panose="020B0604020202020204" pitchFamily="34" charset="0"/>
              </a:rPr>
              <a:t>установление максимальной цены перепродажи </a:t>
            </a:r>
          </a:p>
          <a:p>
            <a:pPr algn="just">
              <a:defRPr/>
            </a:pPr>
            <a:r>
              <a:rPr lang="ru-RU" dirty="0">
                <a:solidFill>
                  <a:srgbClr val="C00000"/>
                </a:solidFill>
                <a:cs typeface="Arial" panose="020B0604020202020204" pitchFamily="34" charset="0"/>
              </a:rPr>
              <a:t>допускается</a:t>
            </a:r>
            <a:r>
              <a:rPr lang="en-US" dirty="0">
                <a:solidFill>
                  <a:srgbClr val="003E77"/>
                </a:solidFill>
                <a:cs typeface="Arial" panose="020B0604020202020204" pitchFamily="34" charset="0"/>
              </a:rPr>
              <a:t>)</a:t>
            </a:r>
            <a:r>
              <a:rPr lang="ru-RU" dirty="0">
                <a:solidFill>
                  <a:srgbClr val="003E77"/>
                </a:solidFill>
                <a:cs typeface="Arial" panose="020B0604020202020204" pitchFamily="34" charset="0"/>
              </a:rPr>
              <a:t>;</a:t>
            </a:r>
          </a:p>
          <a:p>
            <a:pPr algn="just">
              <a:defRPr/>
            </a:pPr>
            <a:endParaRPr lang="ru-RU" sz="1400" dirty="0">
              <a:solidFill>
                <a:srgbClr val="003E77"/>
              </a:solidFill>
              <a:cs typeface="Arial" panose="020B0604020202020204" pitchFamily="34" charset="0"/>
            </a:endParaRPr>
          </a:p>
        </p:txBody>
      </p:sp>
      <p:sp>
        <p:nvSpPr>
          <p:cNvPr id="11" name="AutoShape 88"/>
          <p:cNvSpPr>
            <a:spLocks noChangeArrowheads="1"/>
          </p:cNvSpPr>
          <p:nvPr/>
        </p:nvSpPr>
        <p:spPr bwMode="gray">
          <a:xfrm rot="5400000">
            <a:off x="867271" y="3642813"/>
            <a:ext cx="1209115" cy="236885"/>
          </a:xfrm>
          <a:prstGeom prst="triangle">
            <a:avLst>
              <a:gd name="adj" fmla="val 50000"/>
            </a:avLst>
          </a:prstGeom>
          <a:solidFill>
            <a:srgbClr val="003E77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82529" tIns="42920" rIns="82529" bIns="42920" anchor="ctr"/>
          <a:lstStyle>
            <a:lvl1pPr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just">
              <a:lnSpc>
                <a:spcPct val="100000"/>
              </a:lnSpc>
              <a:spcAft>
                <a:spcPct val="0"/>
              </a:spcAft>
              <a:buClr>
                <a:srgbClr val="00377A"/>
              </a:buClr>
              <a:buSzPct val="70000"/>
              <a:buFont typeface="Wingdings" pitchFamily="2" charset="2"/>
              <a:buNone/>
              <a:defRPr/>
            </a:pP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1323013" y="4403585"/>
            <a:ext cx="10193148" cy="1195776"/>
          </a:xfrm>
          <a:prstGeom prst="rect">
            <a:avLst/>
          </a:prstGeom>
          <a:solidFill>
            <a:srgbClr val="E7E6E6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none" lIns="379640" tIns="42920" rIns="82529" bIns="42920" anchor="ctr"/>
          <a:lstStyle/>
          <a:p>
            <a:pPr marL="0" lvl="1" algn="just"/>
            <a:br>
              <a:rPr lang="ru-RU" sz="1400" dirty="0">
                <a:solidFill>
                  <a:srgbClr val="003E77"/>
                </a:solidFill>
                <a:cs typeface="Arial" panose="020B0604020202020204" pitchFamily="34" charset="0"/>
              </a:rPr>
            </a:br>
            <a:endParaRPr lang="ru-RU" sz="1400" dirty="0">
              <a:solidFill>
                <a:srgbClr val="003E77"/>
              </a:solidFill>
              <a:cs typeface="Arial" panose="020B0604020202020204" pitchFamily="34" charset="0"/>
            </a:endParaRPr>
          </a:p>
          <a:p>
            <a:pPr marL="0" lvl="1" algn="just"/>
            <a:r>
              <a:rPr lang="ru-RU" dirty="0">
                <a:solidFill>
                  <a:srgbClr val="003E77"/>
                </a:solidFill>
                <a:cs typeface="Arial" panose="020B0604020202020204" pitchFamily="34" charset="0"/>
              </a:rPr>
              <a:t>запрещают покупателю продавать товар конкурента компании </a:t>
            </a:r>
          </a:p>
          <a:p>
            <a:pPr marL="0" lvl="1" algn="just"/>
            <a:r>
              <a:rPr lang="ru-RU" dirty="0">
                <a:solidFill>
                  <a:srgbClr val="003E77"/>
                </a:solidFill>
                <a:cs typeface="Arial" panose="020B0604020202020204" pitchFamily="34" charset="0"/>
              </a:rPr>
              <a:t>(</a:t>
            </a:r>
            <a:r>
              <a:rPr lang="en-US" b="1" dirty="0">
                <a:solidFill>
                  <a:srgbClr val="C00000"/>
                </a:solidFill>
                <a:cs typeface="Arial" panose="020B0604020202020204" pitchFamily="34" charset="0"/>
              </a:rPr>
              <a:t>N.B. </a:t>
            </a:r>
            <a:r>
              <a:rPr lang="ru-RU" dirty="0">
                <a:solidFill>
                  <a:srgbClr val="C00000"/>
                </a:solidFill>
                <a:cs typeface="Arial" panose="020B0604020202020204" pitchFamily="34" charset="0"/>
              </a:rPr>
              <a:t>при этом запрет не распространяется на соглашения об организации </a:t>
            </a:r>
          </a:p>
          <a:p>
            <a:pPr marL="0" lvl="1" algn="just"/>
            <a:r>
              <a:rPr lang="ru-RU" dirty="0">
                <a:solidFill>
                  <a:srgbClr val="C00000"/>
                </a:solidFill>
                <a:cs typeface="Arial" panose="020B0604020202020204" pitchFamily="34" charset="0"/>
              </a:rPr>
              <a:t>покупателем продажи товаров под товарным знаком либо </a:t>
            </a:r>
          </a:p>
          <a:p>
            <a:pPr marL="0" lvl="1" algn="just"/>
            <a:r>
              <a:rPr lang="ru-RU" dirty="0">
                <a:solidFill>
                  <a:srgbClr val="C00000"/>
                </a:solidFill>
                <a:cs typeface="Arial" panose="020B0604020202020204" pitchFamily="34" charset="0"/>
              </a:rPr>
              <a:t>иным средством индивидуализации продавца или производителя</a:t>
            </a:r>
            <a:r>
              <a:rPr lang="ru-RU" dirty="0">
                <a:solidFill>
                  <a:srgbClr val="003E77"/>
                </a:solidFill>
                <a:cs typeface="Arial" panose="020B0604020202020204" pitchFamily="34" charset="0"/>
              </a:rPr>
              <a:t>).</a:t>
            </a:r>
          </a:p>
          <a:p>
            <a:pPr algn="just"/>
            <a:endParaRPr lang="ru-RU" sz="1400" dirty="0">
              <a:solidFill>
                <a:srgbClr val="003E77"/>
              </a:solidFill>
              <a:cs typeface="Arial" panose="020B0604020202020204" pitchFamily="34" charset="0"/>
            </a:endParaRPr>
          </a:p>
          <a:p>
            <a:pPr algn="just"/>
            <a:endParaRPr lang="ru-RU" sz="1400" dirty="0">
              <a:solidFill>
                <a:srgbClr val="003E77"/>
              </a:solidFill>
              <a:cs typeface="Arial" panose="020B0604020202020204" pitchFamily="34" charset="0"/>
            </a:endParaRPr>
          </a:p>
        </p:txBody>
      </p:sp>
      <p:sp>
        <p:nvSpPr>
          <p:cNvPr id="15" name="AutoShape 88"/>
          <p:cNvSpPr>
            <a:spLocks noChangeArrowheads="1"/>
          </p:cNvSpPr>
          <p:nvPr/>
        </p:nvSpPr>
        <p:spPr bwMode="gray">
          <a:xfrm rot="5400000">
            <a:off x="893978" y="4862997"/>
            <a:ext cx="1189082" cy="270265"/>
          </a:xfrm>
          <a:prstGeom prst="triangle">
            <a:avLst>
              <a:gd name="adj" fmla="val 50000"/>
            </a:avLst>
          </a:prstGeom>
          <a:solidFill>
            <a:srgbClr val="003E77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82529" tIns="42920" rIns="82529" bIns="42920" anchor="ctr"/>
          <a:lstStyle>
            <a:lvl1pPr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just">
              <a:lnSpc>
                <a:spcPct val="100000"/>
              </a:lnSpc>
              <a:spcAft>
                <a:spcPct val="0"/>
              </a:spcAft>
              <a:buClr>
                <a:srgbClr val="00377A"/>
              </a:buClr>
              <a:buSzPct val="70000"/>
              <a:buFont typeface="Wingdings" pitchFamily="2" charset="2"/>
              <a:buNone/>
              <a:defRPr/>
            </a:pPr>
            <a:endParaRPr lang="ru-RU" alt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721818" y="2381056"/>
            <a:ext cx="10828017" cy="785594"/>
          </a:xfrm>
          <a:prstGeom prst="rect">
            <a:avLst/>
          </a:prstGeom>
          <a:solidFill>
            <a:srgbClr val="4F81BD">
              <a:alpha val="50000"/>
            </a:srgbClr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none" lIns="379640" tIns="42920" rIns="82529" bIns="42920" anchor="ctr"/>
          <a:lstStyle/>
          <a:p>
            <a:pPr algn="just"/>
            <a:r>
              <a:rPr lang="ru-RU" dirty="0">
                <a:solidFill>
                  <a:srgbClr val="003E77"/>
                </a:solidFill>
                <a:cs typeface="Arial" panose="020B0604020202020204" pitchFamily="34" charset="0"/>
              </a:rPr>
              <a:t>Запрещаются вертикальные соглашения, которые:</a:t>
            </a:r>
          </a:p>
        </p:txBody>
      </p:sp>
      <p:sp>
        <p:nvSpPr>
          <p:cNvPr id="17" name="AutoShape 88"/>
          <p:cNvSpPr>
            <a:spLocks noChangeArrowheads="1"/>
          </p:cNvSpPr>
          <p:nvPr/>
        </p:nvSpPr>
        <p:spPr bwMode="gray">
          <a:xfrm rot="5400000">
            <a:off x="352516" y="2678012"/>
            <a:ext cx="918506" cy="197987"/>
          </a:xfrm>
          <a:prstGeom prst="triangle">
            <a:avLst>
              <a:gd name="adj" fmla="val 53527"/>
            </a:avLst>
          </a:prstGeom>
          <a:solidFill>
            <a:srgbClr val="003E77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82529" tIns="42920" rIns="82529" bIns="42920" anchor="ctr"/>
          <a:lstStyle/>
          <a:p>
            <a:pPr algn="just" defTabSz="820826">
              <a:buClr>
                <a:srgbClr val="003E77"/>
              </a:buClr>
              <a:buSzPct val="70000"/>
              <a:defRPr/>
            </a:pPr>
            <a:endParaRPr lang="en-US" sz="14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9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</a:t>
            </a:r>
            <a:r>
              <a:rPr lang="ru-RU" dirty="0">
                <a:solidFill>
                  <a:srgbClr val="003E77"/>
                </a:solidFill>
              </a:rPr>
              <a:t>13</a:t>
            </a:r>
            <a:r>
              <a:rPr lang="de-DE" dirty="0">
                <a:solidFill>
                  <a:srgbClr val="003E77"/>
                </a:solidFill>
              </a:rPr>
              <a:t>.</a:t>
            </a:r>
            <a:r>
              <a:rPr lang="ru-RU" dirty="0">
                <a:solidFill>
                  <a:srgbClr val="003E77"/>
                </a:solidFill>
              </a:rPr>
              <a:t>04</a:t>
            </a:r>
            <a:r>
              <a:rPr lang="de-DE" dirty="0">
                <a:solidFill>
                  <a:srgbClr val="003E77"/>
                </a:solidFill>
              </a:rPr>
              <a:t>.202</a:t>
            </a:r>
            <a:r>
              <a:rPr lang="ru-RU" dirty="0">
                <a:solidFill>
                  <a:srgbClr val="003E77"/>
                </a:solidFill>
              </a:rPr>
              <a:t>1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2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>
                <a:solidFill>
                  <a:srgbClr val="003E77"/>
                </a:solidFill>
              </a:rPr>
              <a:t>| Ответственность за нарушение антимонопольных требований</a:t>
            </a:r>
          </a:p>
        </p:txBody>
      </p:sp>
      <p:sp>
        <p:nvSpPr>
          <p:cNvPr id="2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</p:spPr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15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3864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sz="quarter" idx="13"/>
          </p:nvPr>
        </p:nvSpPr>
        <p:spPr>
          <a:xfrm>
            <a:off x="809654" y="1838325"/>
            <a:ext cx="10575526" cy="3957674"/>
          </a:xfrm>
        </p:spPr>
        <p:txBody>
          <a:bodyPr/>
          <a:lstStyle/>
          <a:p>
            <a:pPr marL="0" indent="0" algn="just" defTabSz="457200">
              <a:buNone/>
            </a:pPr>
            <a:r>
              <a:rPr lang="ru-RU" sz="1800" b="0" cap="none" dirty="0"/>
              <a:t>Установлением цены перепродажи товара могут быть признаны:</a:t>
            </a:r>
          </a:p>
          <a:p>
            <a:pPr marL="19050" indent="-285750" algn="just" defTabSz="45720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ru-RU" sz="1800" b="0" cap="none" dirty="0"/>
              <a:t>установление конкретной цены, </a:t>
            </a:r>
          </a:p>
          <a:p>
            <a:pPr marL="19050" indent="-285750" algn="just" defTabSz="457200">
              <a:buFont typeface="Wingdings" panose="05000000000000000000" pitchFamily="2" charset="2"/>
              <a:buChar char="§"/>
            </a:pPr>
            <a:r>
              <a:rPr lang="ru-RU" sz="1800" b="0" cap="none" dirty="0"/>
              <a:t>установление диапазона цен,</a:t>
            </a:r>
          </a:p>
          <a:p>
            <a:pPr marL="19050" indent="-285750" algn="just" defTabSz="457200">
              <a:buFont typeface="Wingdings" panose="05000000000000000000" pitchFamily="2" charset="2"/>
              <a:buChar char="§"/>
            </a:pPr>
            <a:r>
              <a:rPr lang="ru-RU" sz="1800" b="0" cap="none" dirty="0"/>
              <a:t>установление минимальной цены,</a:t>
            </a:r>
          </a:p>
          <a:p>
            <a:pPr marL="19050" indent="-285750" algn="just" defTabSz="457200">
              <a:buFont typeface="Wingdings" panose="05000000000000000000" pitchFamily="2" charset="2"/>
              <a:buChar char="§"/>
            </a:pPr>
            <a:r>
              <a:rPr lang="ru-RU" sz="1800" b="0" cap="none" dirty="0"/>
              <a:t>установление рекомендуемой цены,</a:t>
            </a:r>
          </a:p>
          <a:p>
            <a:pPr marL="19050" indent="-285750" algn="just" defTabSz="457200">
              <a:buFont typeface="Wingdings" panose="05000000000000000000" pitchFamily="2" charset="2"/>
              <a:buChar char="§"/>
            </a:pPr>
            <a:r>
              <a:rPr lang="ru-RU" sz="1800" b="0" cap="none" dirty="0"/>
              <a:t>установление определенного размера скидок, которые должен предоставлять покупатель при   перепродаже.</a:t>
            </a:r>
          </a:p>
          <a:p>
            <a:pPr marL="0" indent="0" algn="just" defTabSz="457200">
              <a:buNone/>
            </a:pPr>
            <a:r>
              <a:rPr lang="ru-RU" sz="1800" b="0" cap="none" dirty="0"/>
              <a:t>Продавец может устанавливать максимальную цену перепродажи товара.</a:t>
            </a:r>
            <a:endParaRPr lang="de-DE" sz="1800" b="0" cap="non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 lIns="80147" tIns="40074" rIns="80147" bIns="40074" rtlCol="0" anchor="t">
            <a:noAutofit/>
          </a:bodyPr>
          <a:lstStyle/>
          <a:p>
            <a:r>
              <a:rPr lang="ru-RU" dirty="0"/>
              <a:t>Недопустимые вертикальные соглашения: Установление цены перепродажи товара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17E5629-5E8C-4ACA-B14E-CD150F30CCDD}" type="slidenum">
              <a:rPr lang="en-GB" smtClean="0">
                <a:solidFill>
                  <a:srgbClr val="003E77"/>
                </a:solidFill>
              </a:rPr>
              <a:pPr/>
              <a:t>16</a:t>
            </a:fld>
            <a:endParaRPr lang="en-GB" dirty="0">
              <a:solidFill>
                <a:srgbClr val="003E77"/>
              </a:solidFill>
            </a:endParaRP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</a:t>
            </a:r>
            <a:r>
              <a:rPr lang="ru-RU" dirty="0">
                <a:solidFill>
                  <a:srgbClr val="003E77"/>
                </a:solidFill>
              </a:rPr>
              <a:t>13</a:t>
            </a:r>
            <a:r>
              <a:rPr lang="de-DE" dirty="0">
                <a:solidFill>
                  <a:srgbClr val="003E77"/>
                </a:solidFill>
              </a:rPr>
              <a:t>.</a:t>
            </a:r>
            <a:r>
              <a:rPr lang="ru-RU" dirty="0">
                <a:solidFill>
                  <a:srgbClr val="003E77"/>
                </a:solidFill>
              </a:rPr>
              <a:t>04</a:t>
            </a:r>
            <a:r>
              <a:rPr lang="de-DE" dirty="0">
                <a:solidFill>
                  <a:srgbClr val="003E77"/>
                </a:solidFill>
              </a:rPr>
              <a:t>.202</a:t>
            </a:r>
            <a:r>
              <a:rPr lang="ru-RU" dirty="0">
                <a:solidFill>
                  <a:srgbClr val="003E77"/>
                </a:solidFill>
              </a:rPr>
              <a:t>1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>
                <a:solidFill>
                  <a:srgbClr val="003E77"/>
                </a:solidFill>
              </a:rPr>
              <a:t>| Ответственность за нарушение антимонопольных требований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8756" y="2445089"/>
            <a:ext cx="6200400" cy="1929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6093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 lIns="80147" tIns="40074" rIns="80147" bIns="40074" rtlCol="0" anchor="t">
            <a:noAutofit/>
          </a:bodyPr>
          <a:lstStyle/>
          <a:p>
            <a:r>
              <a:rPr lang="ru-RU" dirty="0"/>
              <a:t>Недопустимые вертикальные соглашения: </a:t>
            </a:r>
            <a:br>
              <a:rPr lang="ru-RU" dirty="0"/>
            </a:br>
            <a:r>
              <a:rPr lang="ru-RU" dirty="0"/>
              <a:t>условные запреты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17E5629-5E8C-4ACA-B14E-CD150F30CCDD}" type="slidenum">
              <a:rPr lang="en-GB" smtClean="0">
                <a:solidFill>
                  <a:srgbClr val="003E77"/>
                </a:solidFill>
              </a:rPr>
              <a:pPr/>
              <a:t>17</a:t>
            </a:fld>
            <a:endParaRPr lang="en-GB" dirty="0">
              <a:solidFill>
                <a:srgbClr val="003E77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0437176"/>
              </p:ext>
            </p:extLst>
          </p:nvPr>
        </p:nvGraphicFramePr>
        <p:xfrm>
          <a:off x="730250" y="1685365"/>
          <a:ext cx="10785475" cy="414076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7854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1148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/>
                        <a:t>Согласно п. 4 ст. 11 </a:t>
                      </a:r>
                      <a:r>
                        <a:rPr lang="ru-RU" sz="1800" baseline="0" dirty="0"/>
                        <a:t>ФЗ "О защите конкуренции" з</a:t>
                      </a:r>
                      <a:r>
                        <a:rPr lang="ru-RU" sz="1800" dirty="0"/>
                        <a:t>апрещаются иные вертикальные соглашения, если установлено, что такие соглашения приводят или могут привести к ограничению конкуренции. К таким соглашениям могут быть отнесены, в частности, соглашения: </a:t>
                      </a:r>
                      <a:endParaRPr lang="ru-RU" sz="18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rgbClr val="003E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7578">
                <a:tc>
                  <a:txBody>
                    <a:bodyPr/>
                    <a:lstStyle/>
                    <a:p>
                      <a:pPr marL="641350" marR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700" dirty="0"/>
                        <a:t>о навязывании контрагенту условий договора, невыгодных для него или не относящихся к предмету договора;</a:t>
                      </a:r>
                      <a:endParaRPr lang="ru-RU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37578">
                <a:tc>
                  <a:txBody>
                    <a:bodyPr/>
                    <a:lstStyle/>
                    <a:p>
                      <a:pPr marL="641350" marR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700" dirty="0"/>
                        <a:t>об экономически, технологически и иным образом не обоснованном установлении хозяйствующим субъектом различных цен (тарифов) на один и тот же товар;</a:t>
                      </a:r>
                      <a:endParaRPr lang="ru-RU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>
                    <a:solidFill>
                      <a:srgbClr val="E7E6E6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37578">
                <a:tc>
                  <a:txBody>
                    <a:bodyPr/>
                    <a:lstStyle/>
                    <a:p>
                      <a:pPr marL="641350" marR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700" dirty="0"/>
                        <a:t>о создании другим хозяйствующим субъектам препятствий доступу на товарный рынок или выходу из товарного рынка;</a:t>
                      </a:r>
                      <a:endParaRPr lang="de-DE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8274">
                <a:tc>
                  <a:txBody>
                    <a:bodyPr/>
                    <a:lstStyle/>
                    <a:p>
                      <a:pPr marL="641350" marR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700" dirty="0"/>
                        <a:t>об установлении условий членства (участия) в профессиональных и иных объединениях; </a:t>
                      </a:r>
                      <a:endParaRPr lang="de-DE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>
                    <a:solidFill>
                      <a:srgbClr val="E7E6E6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8274">
                <a:tc>
                  <a:txBody>
                    <a:bodyPr/>
                    <a:lstStyle/>
                    <a:p>
                      <a:pPr marL="641350" marR="0" indent="-28575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lang="ru-RU" sz="1700" dirty="0"/>
                        <a:t>иные соглашения, прямо не указанные в законе.</a:t>
                      </a:r>
                      <a:endParaRPr lang="de-DE" sz="17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</a:t>
            </a:r>
            <a:r>
              <a:rPr lang="ru-RU" dirty="0">
                <a:solidFill>
                  <a:srgbClr val="003E77"/>
                </a:solidFill>
              </a:rPr>
              <a:t>13</a:t>
            </a:r>
            <a:r>
              <a:rPr lang="de-DE" dirty="0">
                <a:solidFill>
                  <a:srgbClr val="003E77"/>
                </a:solidFill>
              </a:rPr>
              <a:t>.</a:t>
            </a:r>
            <a:r>
              <a:rPr lang="ru-RU" dirty="0">
                <a:solidFill>
                  <a:srgbClr val="003E77"/>
                </a:solidFill>
              </a:rPr>
              <a:t>04</a:t>
            </a:r>
            <a:r>
              <a:rPr lang="de-DE" dirty="0">
                <a:solidFill>
                  <a:srgbClr val="003E77"/>
                </a:solidFill>
              </a:rPr>
              <a:t>.202</a:t>
            </a:r>
            <a:r>
              <a:rPr lang="ru-RU" dirty="0">
                <a:solidFill>
                  <a:srgbClr val="003E77"/>
                </a:solidFill>
              </a:rPr>
              <a:t>1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>
                <a:solidFill>
                  <a:srgbClr val="003E77"/>
                </a:solidFill>
              </a:rPr>
              <a:t>| Ответственность за нарушение антимонопольных требований</a:t>
            </a:r>
          </a:p>
        </p:txBody>
      </p:sp>
    </p:spTree>
    <p:extLst>
      <p:ext uri="{BB962C8B-B14F-4D97-AF65-F5344CB8AC3E}">
        <p14:creationId xmlns:p14="http://schemas.microsoft.com/office/powerpoint/2010/main" val="11771219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 vert="horz" lIns="80147" tIns="40074" rIns="80147" bIns="40074" rtlCol="0" anchor="t">
            <a:noAutofit/>
          </a:bodyPr>
          <a:lstStyle/>
          <a:p>
            <a:r>
              <a:rPr lang="ru-RU" dirty="0"/>
              <a:t>Ответственность за заключение запрещенных "вертикальных" соглашений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3328202"/>
              </p:ext>
            </p:extLst>
          </p:nvPr>
        </p:nvGraphicFramePr>
        <p:xfrm>
          <a:off x="730249" y="1595716"/>
          <a:ext cx="10785475" cy="43505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179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54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31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5362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ы</a:t>
                      </a:r>
                      <a:r>
                        <a:rPr lang="ru-RU" sz="160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тветственности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rgbClr val="003E7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ания</a:t>
                      </a:r>
                    </a:p>
                  </a:txBody>
                  <a:tcPr marL="121920" marR="121920" anchor="ctr">
                    <a:solidFill>
                      <a:srgbClr val="003E7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жностное лицо компании</a:t>
                      </a:r>
                    </a:p>
                  </a:txBody>
                  <a:tcPr marL="121920" marR="121920" anchor="ctr">
                    <a:solidFill>
                      <a:srgbClr val="003E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27098"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дминистративная</a:t>
                      </a:r>
                      <a:r>
                        <a:rPr lang="ru-RU" sz="16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ветственность</a:t>
                      </a:r>
                    </a:p>
                  </a:txBody>
                  <a:tcPr marL="121920" marR="121920" anchor="ctr">
                    <a:solidFill>
                      <a:srgbClr val="003E77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ru-RU" sz="16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траф от 0,01 до 0,05 размера суммы выручки правонарушителя от реализации товара либо размера суммы расходов правонарушителя на приобретение товара, но не менее 100 000 рублей</a:t>
                      </a:r>
                    </a:p>
                  </a:txBody>
                  <a:tcPr marL="121920" marR="19200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траф от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r>
                        <a:rPr lang="ru-RU" sz="16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000 до </a:t>
                      </a:r>
                      <a:r>
                        <a:rPr lang="en-US" sz="16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lang="ru-RU" sz="16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000 рублей</a:t>
                      </a:r>
                    </a:p>
                  </a:txBody>
                  <a:tcPr marL="121920" marR="121920" anchor="ctr"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498">
                <a:tc vMerge="1">
                  <a:txBody>
                    <a:bodyPr/>
                    <a:lstStyle/>
                    <a:p>
                      <a:pPr algn="just"/>
                      <a:endParaRPr lang="ru-RU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ли</a:t>
                      </a:r>
                    </a:p>
                  </a:txBody>
                  <a:tcPr marL="121920" marR="19200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ли</a:t>
                      </a:r>
                    </a:p>
                  </a:txBody>
                  <a:tcPr marL="121920" marR="1219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32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 b="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Штраф от 0,002 до 0,02 размера суммы выручки правонарушителя от реализации товара и не менее 50 000 рублей (если сумма выручки на рынке совершения правонарушения превышает 0,75 совокупного размера выручки от реализации всех товаров или правонарушение совершено на рынке с регулируемыми ценами</a:t>
                      </a:r>
                      <a:r>
                        <a:rPr lang="en-US" sz="1600" b="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lang="ru-RU" sz="1600" b="0" kern="12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9200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сквалификация </a:t>
                      </a:r>
                      <a:r>
                        <a:rPr lang="ru-RU" sz="1600" b="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срок </a:t>
                      </a:r>
                      <a:br>
                        <a:rPr lang="ru-RU" sz="1600" b="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600" b="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</a:t>
                      </a:r>
                      <a:r>
                        <a:rPr lang="en-US" sz="1600" b="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ru-RU" sz="1600" b="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</a:t>
                      </a:r>
                      <a:endParaRPr lang="ru-RU" sz="1600" b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</a:t>
            </a:r>
            <a:r>
              <a:rPr lang="ru-RU" dirty="0">
                <a:solidFill>
                  <a:srgbClr val="003E77"/>
                </a:solidFill>
              </a:rPr>
              <a:t>13</a:t>
            </a:r>
            <a:r>
              <a:rPr lang="de-DE" dirty="0">
                <a:solidFill>
                  <a:srgbClr val="003E77"/>
                </a:solidFill>
              </a:rPr>
              <a:t>.</a:t>
            </a:r>
            <a:r>
              <a:rPr lang="ru-RU" dirty="0">
                <a:solidFill>
                  <a:srgbClr val="003E77"/>
                </a:solidFill>
              </a:rPr>
              <a:t>04</a:t>
            </a:r>
            <a:r>
              <a:rPr lang="de-DE" dirty="0">
                <a:solidFill>
                  <a:srgbClr val="003E77"/>
                </a:solidFill>
              </a:rPr>
              <a:t>.202</a:t>
            </a:r>
            <a:r>
              <a:rPr lang="ru-RU" dirty="0">
                <a:solidFill>
                  <a:srgbClr val="003E77"/>
                </a:solidFill>
              </a:rPr>
              <a:t>1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>
                <a:solidFill>
                  <a:srgbClr val="003E77"/>
                </a:solidFill>
              </a:rPr>
              <a:t>| Ответственность за нарушение антимонопольных требований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</p:spPr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18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8150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20003" y="720003"/>
            <a:ext cx="10751987" cy="5306724"/>
          </a:xfrm>
        </p:spPr>
        <p:txBody>
          <a:bodyPr vert="horz" lIns="80147" tIns="40074" rIns="80147" bIns="40074" rtlCol="0" anchor="t">
            <a:noAutofit/>
          </a:bodyPr>
          <a:lstStyle/>
          <a:p>
            <a:r>
              <a:rPr lang="ru-RU" dirty="0"/>
              <a:t>Административная ответственность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</a:t>
            </a:r>
            <a:r>
              <a:rPr lang="ru-RU" dirty="0">
                <a:solidFill>
                  <a:srgbClr val="003E77"/>
                </a:solidFill>
              </a:rPr>
              <a:t>13</a:t>
            </a:r>
            <a:r>
              <a:rPr lang="de-DE" dirty="0">
                <a:solidFill>
                  <a:srgbClr val="003E77"/>
                </a:solidFill>
              </a:rPr>
              <a:t>.</a:t>
            </a:r>
            <a:r>
              <a:rPr lang="ru-RU" dirty="0">
                <a:solidFill>
                  <a:srgbClr val="003E77"/>
                </a:solidFill>
              </a:rPr>
              <a:t>04</a:t>
            </a:r>
            <a:r>
              <a:rPr lang="de-DE" dirty="0">
                <a:solidFill>
                  <a:srgbClr val="003E77"/>
                </a:solidFill>
              </a:rPr>
              <a:t>.202</a:t>
            </a:r>
            <a:r>
              <a:rPr lang="ru-RU" dirty="0">
                <a:solidFill>
                  <a:srgbClr val="003E77"/>
                </a:solidFill>
              </a:rPr>
              <a:t>1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>
                <a:solidFill>
                  <a:srgbClr val="003E77"/>
                </a:solidFill>
              </a:rPr>
              <a:t>| Ответственность за нарушение антимонопольных требований</a:t>
            </a: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</p:spPr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19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0301" y="1174173"/>
            <a:ext cx="7034678" cy="5153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678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Антимонопольное регулирование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5B617DF-0598-4CB7-9ACB-BD8355A1A30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16853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20004" y="1906948"/>
            <a:ext cx="10762384" cy="612001"/>
          </a:xfrm>
        </p:spPr>
        <p:txBody>
          <a:bodyPr wrap="square"/>
          <a:lstStyle/>
          <a:p>
            <a:r>
              <a:rPr lang="ru-RU" dirty="0"/>
              <a:t>Координация экономической деятельности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5B617DF-0598-4CB7-9ACB-BD8355A1A30B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9861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20003" y="720003"/>
            <a:ext cx="9692727" cy="792000"/>
          </a:xfrm>
        </p:spPr>
        <p:txBody>
          <a:bodyPr vert="horz" lIns="80147" tIns="40074" rIns="80147" bIns="40074" rtlCol="0" anchor="t">
            <a:noAutofit/>
          </a:bodyPr>
          <a:lstStyle/>
          <a:p>
            <a:r>
              <a:rPr lang="ru-RU" dirty="0"/>
              <a:t>Понятие координации экономической деятельности (</a:t>
            </a:r>
            <a:r>
              <a:rPr lang="en-US" dirty="0"/>
              <a:t>I</a:t>
            </a:r>
            <a:r>
              <a:rPr lang="ru-RU" dirty="0"/>
              <a:t>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17E5629-5E8C-4ACA-B14E-CD150F30CCDD}" type="slidenum">
              <a:rPr lang="en-GB" noProof="0" smtClean="0"/>
              <a:pPr/>
              <a:t>21</a:t>
            </a:fld>
            <a:endParaRPr lang="en-GB" noProof="0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730251" y="1838325"/>
            <a:ext cx="10785474" cy="2025015"/>
          </a:xfrm>
          <a:prstGeom prst="roundRect">
            <a:avLst/>
          </a:prstGeom>
          <a:solidFill>
            <a:srgbClr val="003E77"/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just"/>
            <a:r>
              <a:rPr lang="ru-RU" dirty="0">
                <a:solidFill>
                  <a:prstClr val="white"/>
                </a:solidFill>
                <a:latin typeface="Arial"/>
              </a:rPr>
              <a:t>Координация экономической деятельности – согласование действий хозяйствующих субъектов третьим лицом, не входящим в одну группу лиц ни с одним из таких хозяйствующих субъектов и не осуществляющим деятельности на товарном рынке, на котором осуществляется согласование действий хозяйствующих субъектов </a:t>
            </a:r>
          </a:p>
          <a:p>
            <a:pPr algn="just"/>
            <a:endParaRPr lang="ru-RU" dirty="0">
              <a:solidFill>
                <a:prstClr val="white"/>
              </a:solidFill>
              <a:latin typeface="Arial"/>
            </a:endParaRPr>
          </a:p>
          <a:p>
            <a:pPr algn="just"/>
            <a:r>
              <a:rPr lang="ru-RU" dirty="0">
                <a:solidFill>
                  <a:prstClr val="white"/>
                </a:solidFill>
                <a:latin typeface="Arial"/>
              </a:rPr>
              <a:t>(п. 14 ст. 4 ФЗ "О защите конкуренции"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30250" y="4104943"/>
            <a:ext cx="10785475" cy="14311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</a:pPr>
            <a:r>
              <a:rPr lang="ru-RU" u="sng" dirty="0">
                <a:latin typeface="Arial" panose="020B0604020202020204" pitchFamily="34" charset="0"/>
                <a:cs typeface="Arial" panose="020B0604020202020204" pitchFamily="34" charset="0"/>
              </a:rPr>
              <a:t>Примеры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ординация ассоциацией деятельности своих членов.</a:t>
            </a:r>
          </a:p>
          <a:p>
            <a:pPr marL="285750" indent="-285750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ординация продавцом действий своих дилеров.</a:t>
            </a:r>
          </a:p>
          <a:p>
            <a:pPr marL="285750" indent="-285750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ординация экспертной организацией действий участников рынка.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</p:spTree>
    <p:extLst>
      <p:ext uri="{BB962C8B-B14F-4D97-AF65-F5344CB8AC3E}">
        <p14:creationId xmlns:p14="http://schemas.microsoft.com/office/powerpoint/2010/main" val="42431120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20003" y="720003"/>
            <a:ext cx="9727017" cy="792000"/>
          </a:xfrm>
        </p:spPr>
        <p:txBody>
          <a:bodyPr vert="horz" lIns="80147" tIns="40074" rIns="80147" bIns="40074" rtlCol="0" anchor="t">
            <a:noAutofit/>
          </a:bodyPr>
          <a:lstStyle/>
          <a:p>
            <a:r>
              <a:rPr lang="ru-RU" dirty="0"/>
              <a:t>Понятие координации экономической деятельности (</a:t>
            </a:r>
            <a:r>
              <a:rPr lang="en-US" dirty="0"/>
              <a:t>II</a:t>
            </a:r>
            <a:r>
              <a:rPr lang="ru-RU" dirty="0"/>
              <a:t>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17E5629-5E8C-4ACA-B14E-CD150F30CCDD}" type="slidenum">
              <a:rPr lang="en-GB" noProof="0" smtClean="0"/>
              <a:pPr/>
              <a:t>22</a:t>
            </a:fld>
            <a:endParaRPr lang="en-GB" noProof="0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730250" y="1959871"/>
            <a:ext cx="10791190" cy="1080120"/>
          </a:xfrm>
          <a:prstGeom prst="roundRect">
            <a:avLst/>
          </a:prstGeom>
          <a:solidFill>
            <a:srgbClr val="003E77"/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just"/>
            <a:r>
              <a:rPr lang="ru-RU" dirty="0">
                <a:solidFill>
                  <a:prstClr val="white"/>
                </a:solidFill>
                <a:latin typeface="Arial"/>
              </a:rPr>
              <a:t>Ответственность за запрещенную координацию экономической деятельности несет только координатор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30250" y="3256014"/>
            <a:ext cx="10791190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ординируемые лица могут нести ответственность за иные действия / бездействия, запрещенные антимонопольным законодательством, совершенными в результате координации,  например:</a:t>
            </a:r>
          </a:p>
          <a:p>
            <a:pPr marL="285750" indent="-285750" algn="just">
              <a:spcBef>
                <a:spcPts val="1200"/>
              </a:spcBef>
              <a:buFont typeface="Wingdings" pitchFamily="2" charset="2"/>
              <a:buChar char="§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тветственность за участие в картельном сговоре;</a:t>
            </a:r>
          </a:p>
          <a:p>
            <a:pPr marL="285750" indent="-285750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тветственность за злоупотребление доминирующим положением.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</p:spTree>
    <p:extLst>
      <p:ext uri="{BB962C8B-B14F-4D97-AF65-F5344CB8AC3E}">
        <p14:creationId xmlns:p14="http://schemas.microsoft.com/office/powerpoint/2010/main" val="8720274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 lIns="80147" tIns="40074" rIns="80147" bIns="40074" rtlCol="0" anchor="t">
            <a:noAutofit/>
          </a:bodyPr>
          <a:lstStyle/>
          <a:p>
            <a:r>
              <a:rPr lang="ru-RU" dirty="0"/>
              <a:t>Признаки координации экономической деятельности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17E5629-5E8C-4ACA-B14E-CD150F30CCDD}" type="slidenum">
              <a:rPr lang="en-GB" noProof="0" smtClean="0"/>
              <a:pPr/>
              <a:t>23</a:t>
            </a:fld>
            <a:endParaRPr lang="en-GB" noProof="0" dirty="0"/>
          </a:p>
        </p:txBody>
      </p:sp>
      <p:sp>
        <p:nvSpPr>
          <p:cNvPr id="36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3119670" y="1613860"/>
            <a:ext cx="8396055" cy="565642"/>
          </a:xfrm>
          <a:prstGeom prst="rect">
            <a:avLst/>
          </a:prstGeom>
          <a:solidFill>
            <a:srgbClr val="4F81BD">
              <a:alpha val="5000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Установлению или поддержанию цен (тарифов), скидок, надбавок (доплат) и (или) наценок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8" name="Схема 37"/>
          <p:cNvGraphicFramePr/>
          <p:nvPr>
            <p:extLst>
              <p:ext uri="{D42A27DB-BD31-4B8C-83A1-F6EECF244321}">
                <p14:modId xmlns:p14="http://schemas.microsoft.com/office/powerpoint/2010/main" val="312983858"/>
              </p:ext>
            </p:extLst>
          </p:nvPr>
        </p:nvGraphicFramePr>
        <p:xfrm>
          <a:off x="705612" y="1630002"/>
          <a:ext cx="2222037" cy="46472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0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3119669" y="2216216"/>
            <a:ext cx="8396053" cy="318119"/>
          </a:xfrm>
          <a:prstGeom prst="rect">
            <a:avLst/>
          </a:prstGeom>
          <a:solidFill>
            <a:srgbClr val="4F81BD">
              <a:alpha val="5000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Повышению, снижению или поддержанию цен на торгах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3119670" y="2562869"/>
            <a:ext cx="8396055" cy="728972"/>
          </a:xfrm>
          <a:prstGeom prst="rect">
            <a:avLst/>
          </a:prstGeom>
          <a:solidFill>
            <a:srgbClr val="4F81BD">
              <a:alpha val="5000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Разделу товарного рынка по территориальному принципу, объему продажи или покупки товаров, ассортименту реализуемых товаров либо составу продавцов или покупателей (заказчиков)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3119670" y="3326148"/>
            <a:ext cx="8395979" cy="321267"/>
          </a:xfrm>
          <a:prstGeom prst="rect">
            <a:avLst/>
          </a:prstGeom>
          <a:solidFill>
            <a:srgbClr val="4F81BD">
              <a:alpha val="5000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Сокращению или прекращению производства товаров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3119670" y="3677741"/>
            <a:ext cx="8395979" cy="565200"/>
          </a:xfrm>
          <a:prstGeom prst="rect">
            <a:avLst/>
          </a:prstGeom>
          <a:solidFill>
            <a:srgbClr val="4F81BD">
              <a:alpha val="5000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Отказу от заключения договоров с определенными продавцами или покупателями (заказчиками</a:t>
            </a: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3119670" y="4273996"/>
            <a:ext cx="8395979" cy="331215"/>
          </a:xfrm>
          <a:prstGeom prst="rect">
            <a:avLst/>
          </a:prstGeom>
          <a:solidFill>
            <a:srgbClr val="4F81BD">
              <a:alpha val="5000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Установлению цены перепродажи товара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3119670" y="4637589"/>
            <a:ext cx="8395830" cy="565200"/>
          </a:xfrm>
          <a:prstGeom prst="rect">
            <a:avLst/>
          </a:prstGeom>
          <a:solidFill>
            <a:srgbClr val="4F81BD">
              <a:alpha val="5000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Манипулированию ценами на оптовом и (или) розничном рынке электрической энергии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3119668" y="5232952"/>
            <a:ext cx="8406239" cy="599523"/>
          </a:xfrm>
          <a:prstGeom prst="rect">
            <a:avLst/>
          </a:prstGeom>
          <a:solidFill>
            <a:srgbClr val="4F81BD">
              <a:alpha val="50000"/>
            </a:srgbClr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16510" tIns="16510" rIns="16510" bIns="16510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500" dirty="0">
                <a:latin typeface="Arial" panose="020B0604020202020204" pitchFamily="34" charset="0"/>
                <a:cs typeface="Arial" panose="020B0604020202020204" pitchFamily="34" charset="0"/>
              </a:rPr>
              <a:t>Обязательству покупателя не продавать товар хозяйствующего субъекта, который является конкурентом продавца 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</p:spTree>
    <p:extLst>
      <p:ext uri="{BB962C8B-B14F-4D97-AF65-F5344CB8AC3E}">
        <p14:creationId xmlns:p14="http://schemas.microsoft.com/office/powerpoint/2010/main" val="155770404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sz="quarter" idx="13"/>
          </p:nvPr>
        </p:nvSpPr>
        <p:spPr>
          <a:xfrm>
            <a:off x="818618" y="1655999"/>
            <a:ext cx="10638279" cy="778591"/>
          </a:xfrm>
        </p:spPr>
        <p:txBody>
          <a:bodyPr/>
          <a:lstStyle/>
          <a:p>
            <a:pPr marL="0" indent="0" algn="just">
              <a:buNone/>
            </a:pPr>
            <a:r>
              <a:rPr lang="ru-RU" sz="1600" cap="none" dirty="0"/>
              <a:t>Для минимизации риска привлечения хозяйствующих субъектов к ответственности за запрещенную координацию экономической деятельности им следует:</a:t>
            </a:r>
            <a:endParaRPr lang="de-DE" sz="1600" cap="non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 lIns="80147" tIns="40074" rIns="80147" bIns="40074" rtlCol="0" anchor="t">
            <a:noAutofit/>
          </a:bodyPr>
          <a:lstStyle/>
          <a:p>
            <a:r>
              <a:rPr lang="ru-RU" dirty="0"/>
              <a:t>Снижение риска осуществления запрещенной координации экономической деятельности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17E5629-5E8C-4ACA-B14E-CD150F30CCDD}" type="slidenum">
              <a:rPr lang="en-GB" noProof="0" smtClean="0"/>
              <a:pPr/>
              <a:t>24</a:t>
            </a:fld>
            <a:endParaRPr lang="en-GB" noProof="0" dirty="0"/>
          </a:p>
        </p:txBody>
      </p:sp>
      <p:sp>
        <p:nvSpPr>
          <p:cNvPr id="9" name="Полилиния 8"/>
          <p:cNvSpPr/>
          <p:nvPr/>
        </p:nvSpPr>
        <p:spPr>
          <a:xfrm>
            <a:off x="1275579" y="2536287"/>
            <a:ext cx="10240146" cy="820187"/>
          </a:xfrm>
          <a:custGeom>
            <a:avLst/>
            <a:gdLst>
              <a:gd name="connsiteX0" fmla="*/ 0 w 5171614"/>
              <a:gd name="connsiteY0" fmla="*/ 0 h 541912"/>
              <a:gd name="connsiteX1" fmla="*/ 4900658 w 5171614"/>
              <a:gd name="connsiteY1" fmla="*/ 0 h 541912"/>
              <a:gd name="connsiteX2" fmla="*/ 5171614 w 5171614"/>
              <a:gd name="connsiteY2" fmla="*/ 270956 h 541912"/>
              <a:gd name="connsiteX3" fmla="*/ 4900658 w 5171614"/>
              <a:gd name="connsiteY3" fmla="*/ 541912 h 541912"/>
              <a:gd name="connsiteX4" fmla="*/ 0 w 5171614"/>
              <a:gd name="connsiteY4" fmla="*/ 541912 h 541912"/>
              <a:gd name="connsiteX5" fmla="*/ 0 w 5171614"/>
              <a:gd name="connsiteY5" fmla="*/ 0 h 54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1614" h="541912">
                <a:moveTo>
                  <a:pt x="5171614" y="541911"/>
                </a:moveTo>
                <a:lnTo>
                  <a:pt x="270956" y="541911"/>
                </a:lnTo>
                <a:lnTo>
                  <a:pt x="0" y="270956"/>
                </a:lnTo>
                <a:lnTo>
                  <a:pt x="270956" y="1"/>
                </a:lnTo>
                <a:lnTo>
                  <a:pt x="5171614" y="1"/>
                </a:lnTo>
                <a:lnTo>
                  <a:pt x="5171614" y="541911"/>
                </a:lnTo>
                <a:close/>
              </a:path>
            </a:pathLst>
          </a:custGeom>
          <a:noFill/>
          <a:ln>
            <a:solidFill>
              <a:srgbClr val="4F81BD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0000" tIns="57151" rIns="144000" bIns="57151" numCol="1" spcCol="1270" anchor="ctr" anchorCtr="0">
            <a:noAutofit/>
          </a:bodyPr>
          <a:lstStyle/>
          <a:p>
            <a:pPr algn="just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давать письменных и устных рекомендаций хозяйствующим субъектам относительно того, как им следует вести себя на рынке.</a:t>
            </a:r>
          </a:p>
        </p:txBody>
      </p:sp>
      <p:sp>
        <p:nvSpPr>
          <p:cNvPr id="10" name="Овал 9"/>
          <p:cNvSpPr/>
          <p:nvPr/>
        </p:nvSpPr>
        <p:spPr>
          <a:xfrm>
            <a:off x="808279" y="2579323"/>
            <a:ext cx="769061" cy="720000"/>
          </a:xfrm>
          <a:prstGeom prst="ellipse">
            <a:avLst/>
          </a:prstGeom>
          <a:solidFill>
            <a:srgbClr val="4F81BD"/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</p:sp>
      <p:sp>
        <p:nvSpPr>
          <p:cNvPr id="13" name="Полилиния 12"/>
          <p:cNvSpPr/>
          <p:nvPr/>
        </p:nvSpPr>
        <p:spPr>
          <a:xfrm>
            <a:off x="1275579" y="3441162"/>
            <a:ext cx="10240146" cy="820187"/>
          </a:xfrm>
          <a:custGeom>
            <a:avLst/>
            <a:gdLst>
              <a:gd name="connsiteX0" fmla="*/ 0 w 5171614"/>
              <a:gd name="connsiteY0" fmla="*/ 0 h 541912"/>
              <a:gd name="connsiteX1" fmla="*/ 4900658 w 5171614"/>
              <a:gd name="connsiteY1" fmla="*/ 0 h 541912"/>
              <a:gd name="connsiteX2" fmla="*/ 5171614 w 5171614"/>
              <a:gd name="connsiteY2" fmla="*/ 270956 h 541912"/>
              <a:gd name="connsiteX3" fmla="*/ 4900658 w 5171614"/>
              <a:gd name="connsiteY3" fmla="*/ 541912 h 541912"/>
              <a:gd name="connsiteX4" fmla="*/ 0 w 5171614"/>
              <a:gd name="connsiteY4" fmla="*/ 541912 h 541912"/>
              <a:gd name="connsiteX5" fmla="*/ 0 w 5171614"/>
              <a:gd name="connsiteY5" fmla="*/ 0 h 54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1614" h="541912">
                <a:moveTo>
                  <a:pt x="5171614" y="541911"/>
                </a:moveTo>
                <a:lnTo>
                  <a:pt x="270956" y="541911"/>
                </a:lnTo>
                <a:lnTo>
                  <a:pt x="0" y="270956"/>
                </a:lnTo>
                <a:lnTo>
                  <a:pt x="270956" y="1"/>
                </a:lnTo>
                <a:lnTo>
                  <a:pt x="5171614" y="1"/>
                </a:lnTo>
                <a:lnTo>
                  <a:pt x="5171614" y="541911"/>
                </a:lnTo>
                <a:close/>
              </a:path>
            </a:pathLst>
          </a:custGeom>
          <a:noFill/>
          <a:ln>
            <a:solidFill>
              <a:srgbClr val="4F81BD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0000" tIns="57151" rIns="144000" bIns="57151" numCol="1" spcCol="1270" anchor="ctr" anchorCtr="0">
            <a:noAutofit/>
          </a:bodyPr>
          <a:lstStyle/>
          <a:p>
            <a:pPr algn="just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бегать публичных заявлений, которые могут привести к тому, что хозяйствующие субъекты будут действовать единым образом.</a:t>
            </a:r>
          </a:p>
        </p:txBody>
      </p:sp>
      <p:sp>
        <p:nvSpPr>
          <p:cNvPr id="14" name="Овал 13"/>
          <p:cNvSpPr/>
          <p:nvPr/>
        </p:nvSpPr>
        <p:spPr>
          <a:xfrm>
            <a:off x="808279" y="3484198"/>
            <a:ext cx="769061" cy="720000"/>
          </a:xfrm>
          <a:prstGeom prst="ellipse">
            <a:avLst/>
          </a:prstGeom>
          <a:solidFill>
            <a:srgbClr val="4F81BD"/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</p:sp>
      <p:sp>
        <p:nvSpPr>
          <p:cNvPr id="15" name="Полилиния 14"/>
          <p:cNvSpPr/>
          <p:nvPr/>
        </p:nvSpPr>
        <p:spPr>
          <a:xfrm>
            <a:off x="1275579" y="4346037"/>
            <a:ext cx="10240146" cy="820187"/>
          </a:xfrm>
          <a:custGeom>
            <a:avLst/>
            <a:gdLst>
              <a:gd name="connsiteX0" fmla="*/ 0 w 5171614"/>
              <a:gd name="connsiteY0" fmla="*/ 0 h 541912"/>
              <a:gd name="connsiteX1" fmla="*/ 4900658 w 5171614"/>
              <a:gd name="connsiteY1" fmla="*/ 0 h 541912"/>
              <a:gd name="connsiteX2" fmla="*/ 5171614 w 5171614"/>
              <a:gd name="connsiteY2" fmla="*/ 270956 h 541912"/>
              <a:gd name="connsiteX3" fmla="*/ 4900658 w 5171614"/>
              <a:gd name="connsiteY3" fmla="*/ 541912 h 541912"/>
              <a:gd name="connsiteX4" fmla="*/ 0 w 5171614"/>
              <a:gd name="connsiteY4" fmla="*/ 541912 h 541912"/>
              <a:gd name="connsiteX5" fmla="*/ 0 w 5171614"/>
              <a:gd name="connsiteY5" fmla="*/ 0 h 54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1614" h="541912">
                <a:moveTo>
                  <a:pt x="5171614" y="541911"/>
                </a:moveTo>
                <a:lnTo>
                  <a:pt x="270956" y="541911"/>
                </a:lnTo>
                <a:lnTo>
                  <a:pt x="0" y="270956"/>
                </a:lnTo>
                <a:lnTo>
                  <a:pt x="270956" y="1"/>
                </a:lnTo>
                <a:lnTo>
                  <a:pt x="5171614" y="1"/>
                </a:lnTo>
                <a:lnTo>
                  <a:pt x="5171614" y="541911"/>
                </a:lnTo>
                <a:close/>
              </a:path>
            </a:pathLst>
          </a:custGeom>
          <a:noFill/>
          <a:ln>
            <a:solidFill>
              <a:srgbClr val="4F81BD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0000" tIns="57151" rIns="144000" bIns="57151" numCol="1" spcCol="1270" anchor="ctr" anchorCtr="0">
            <a:noAutofit/>
          </a:bodyPr>
          <a:lstStyle/>
          <a:p>
            <a:pPr algn="just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направлять рекомендации, не осуществлять контроль в отношении ценообразования дилеров, количества дилеров в одном городе.</a:t>
            </a:r>
          </a:p>
        </p:txBody>
      </p:sp>
      <p:sp>
        <p:nvSpPr>
          <p:cNvPr id="16" name="Овал 15"/>
          <p:cNvSpPr/>
          <p:nvPr/>
        </p:nvSpPr>
        <p:spPr>
          <a:xfrm>
            <a:off x="808279" y="4389073"/>
            <a:ext cx="769061" cy="720000"/>
          </a:xfrm>
          <a:prstGeom prst="ellipse">
            <a:avLst/>
          </a:prstGeom>
          <a:solidFill>
            <a:srgbClr val="4F81BD"/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</p:sp>
      <p:sp>
        <p:nvSpPr>
          <p:cNvPr id="17" name="Полилиния 16"/>
          <p:cNvSpPr/>
          <p:nvPr/>
        </p:nvSpPr>
        <p:spPr>
          <a:xfrm>
            <a:off x="1275579" y="5260437"/>
            <a:ext cx="10240146" cy="820187"/>
          </a:xfrm>
          <a:custGeom>
            <a:avLst/>
            <a:gdLst>
              <a:gd name="connsiteX0" fmla="*/ 0 w 5171614"/>
              <a:gd name="connsiteY0" fmla="*/ 0 h 541912"/>
              <a:gd name="connsiteX1" fmla="*/ 4900658 w 5171614"/>
              <a:gd name="connsiteY1" fmla="*/ 0 h 541912"/>
              <a:gd name="connsiteX2" fmla="*/ 5171614 w 5171614"/>
              <a:gd name="connsiteY2" fmla="*/ 270956 h 541912"/>
              <a:gd name="connsiteX3" fmla="*/ 4900658 w 5171614"/>
              <a:gd name="connsiteY3" fmla="*/ 541912 h 541912"/>
              <a:gd name="connsiteX4" fmla="*/ 0 w 5171614"/>
              <a:gd name="connsiteY4" fmla="*/ 541912 h 541912"/>
              <a:gd name="connsiteX5" fmla="*/ 0 w 5171614"/>
              <a:gd name="connsiteY5" fmla="*/ 0 h 54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71614" h="541912">
                <a:moveTo>
                  <a:pt x="5171614" y="541911"/>
                </a:moveTo>
                <a:lnTo>
                  <a:pt x="270956" y="541911"/>
                </a:lnTo>
                <a:lnTo>
                  <a:pt x="0" y="270956"/>
                </a:lnTo>
                <a:lnTo>
                  <a:pt x="270956" y="1"/>
                </a:lnTo>
                <a:lnTo>
                  <a:pt x="5171614" y="1"/>
                </a:lnTo>
                <a:lnTo>
                  <a:pt x="5171614" y="541911"/>
                </a:lnTo>
                <a:close/>
              </a:path>
            </a:pathLst>
          </a:custGeom>
          <a:noFill/>
          <a:ln>
            <a:solidFill>
              <a:srgbClr val="4F81BD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40000" tIns="57151" rIns="144000" bIns="57151" numCol="1" spcCol="1270" anchor="ctr" anchorCtr="0">
            <a:noAutofit/>
          </a:bodyPr>
          <a:lstStyle/>
          <a:p>
            <a:pPr algn="just" defTabSz="6667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совать с ФАС правила торговой практики (коммерческую / торговую политику).</a:t>
            </a:r>
          </a:p>
        </p:txBody>
      </p:sp>
      <p:sp>
        <p:nvSpPr>
          <p:cNvPr id="18" name="Овал 17"/>
          <p:cNvSpPr/>
          <p:nvPr/>
        </p:nvSpPr>
        <p:spPr>
          <a:xfrm>
            <a:off x="808279" y="5312998"/>
            <a:ext cx="769061" cy="720000"/>
          </a:xfrm>
          <a:prstGeom prst="ellipse">
            <a:avLst/>
          </a:prstGeom>
          <a:solidFill>
            <a:srgbClr val="4F81BD"/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</p:sp>
      <p:sp>
        <p:nvSpPr>
          <p:cNvPr id="21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</p:spTree>
    <p:extLst>
      <p:ext uri="{BB962C8B-B14F-4D97-AF65-F5344CB8AC3E}">
        <p14:creationId xmlns:p14="http://schemas.microsoft.com/office/powerpoint/2010/main" val="20000308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2"/>
          <p:cNvSpPr>
            <a:spLocks noGrp="1"/>
          </p:cNvSpPr>
          <p:nvPr>
            <p:ph type="title"/>
          </p:nvPr>
        </p:nvSpPr>
        <p:spPr/>
        <p:txBody>
          <a:bodyPr vert="horz" lIns="80147" tIns="40074" rIns="80147" bIns="40074" rtlCol="0" anchor="t">
            <a:noAutofit/>
          </a:bodyPr>
          <a:lstStyle/>
          <a:p>
            <a:r>
              <a:rPr lang="ru-RU" dirty="0"/>
              <a:t>Ответственность за недопустимую координацию экономической деятельности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6639872"/>
              </p:ext>
            </p:extLst>
          </p:nvPr>
        </p:nvGraphicFramePr>
        <p:xfrm>
          <a:off x="730250" y="1703295"/>
          <a:ext cx="10785474" cy="41228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56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202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295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03799"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ы</a:t>
                      </a:r>
                      <a:r>
                        <a:rPr lang="ru-RU" sz="160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тветственности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rgbClr val="003E7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ания</a:t>
                      </a:r>
                    </a:p>
                  </a:txBody>
                  <a:tcPr marL="121920" marR="121920" anchor="ctr">
                    <a:solidFill>
                      <a:srgbClr val="003E7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жностное лицо компании</a:t>
                      </a:r>
                    </a:p>
                  </a:txBody>
                  <a:tcPr marL="121920" marR="121920" anchor="ctr">
                    <a:solidFill>
                      <a:srgbClr val="003E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36644">
                <a:tc rowSpan="3"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дминистративная ответственность</a:t>
                      </a:r>
                    </a:p>
                  </a:txBody>
                  <a:tcPr marL="121920" marR="121920" anchor="ctr">
                    <a:solidFill>
                      <a:srgbClr val="003E77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</a:pPr>
                      <a:r>
                        <a:rPr lang="ru-RU" sz="16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траф</a:t>
                      </a:r>
                      <a:r>
                        <a:rPr lang="ru-RU" sz="160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т </a:t>
                      </a:r>
                    </a:p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</a:pPr>
                      <a:r>
                        <a:rPr lang="ru-RU" sz="160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00 000 до 5 000 000 рублей</a:t>
                      </a:r>
                      <a:endParaRPr lang="ru-RU" sz="16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just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endParaRPr lang="ru-RU" sz="16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</a:pPr>
                      <a:r>
                        <a:rPr lang="ru-RU" sz="16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траф от </a:t>
                      </a:r>
                    </a:p>
                    <a:p>
                      <a:pPr algn="ctr">
                        <a:lnSpc>
                          <a:spcPct val="130000"/>
                        </a:lnSpc>
                        <a:spcBef>
                          <a:spcPts val="600"/>
                        </a:spcBef>
                      </a:pPr>
                      <a:r>
                        <a:rPr lang="ru-RU" sz="16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 000 до 50 000 рублей</a:t>
                      </a:r>
                    </a:p>
                  </a:txBody>
                  <a:tcPr marL="121920" marR="121920" anchor="ctr"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3063">
                <a:tc vMerge="1">
                  <a:txBody>
                    <a:bodyPr/>
                    <a:lstStyle/>
                    <a:p>
                      <a:pPr algn="just"/>
                      <a:endParaRPr lang="ru-RU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4F81BD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ли</a:t>
                      </a:r>
                    </a:p>
                  </a:txBody>
                  <a:tcPr marL="121920" marR="12192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793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сквалификация </a:t>
                      </a:r>
                      <a:r>
                        <a:rPr lang="ru-RU" sz="160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срок до </a:t>
                      </a:r>
                      <a:br>
                        <a:rPr lang="en-US" sz="160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600" baseline="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лет</a:t>
                      </a:r>
                      <a:endParaRPr lang="ru-RU" sz="16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3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</p:spPr>
        <p:txBody>
          <a:bodyPr/>
          <a:lstStyle/>
          <a:p>
            <a:fld id="{117E5629-5E8C-4ACA-B14E-CD150F30CCDD}" type="slidenum">
              <a:rPr lang="en-GB" noProof="0" smtClean="0"/>
              <a:pPr/>
              <a:t>2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593302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20004" y="1906948"/>
            <a:ext cx="10762384" cy="612001"/>
          </a:xfrm>
        </p:spPr>
        <p:txBody>
          <a:bodyPr wrap="square"/>
          <a:lstStyle/>
          <a:p>
            <a:r>
              <a:rPr lang="ru-RU" dirty="0"/>
              <a:t>Антимонопольное регулирование </a:t>
            </a:r>
            <a:br>
              <a:rPr lang="ru-RU" dirty="0"/>
            </a:br>
            <a:r>
              <a:rPr lang="ru-RU" dirty="0"/>
              <a:t>при проведении торгов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5B617DF-0598-4CB7-9ACB-BD8355A1A30B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41813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 lIns="80147" tIns="40074" rIns="80147" bIns="40074" rtlCol="0" anchor="t">
            <a:noAutofit/>
          </a:bodyPr>
          <a:lstStyle/>
          <a:p>
            <a:r>
              <a:rPr lang="ru-RU" dirty="0"/>
              <a:t>Антимонопольное регулирование при проведении торгов, запросов котировок, запросов предложений</a:t>
            </a:r>
            <a:endParaRPr lang="de-DE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0264882"/>
              </p:ext>
            </p:extLst>
          </p:nvPr>
        </p:nvGraphicFramePr>
        <p:xfrm>
          <a:off x="730250" y="1694329"/>
          <a:ext cx="10785475" cy="42367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352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193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92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3859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137335"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300" b="1" dirty="0">
                          <a:solidFill>
                            <a:schemeClr val="bg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Запрещенные действия, которые приводят или могут привести к недопущению, ограничению или устранению конкуренции</a:t>
                      </a:r>
                      <a:endParaRPr lang="ru-RU" sz="1300" dirty="0">
                        <a:solidFill>
                          <a:schemeClr val="bg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anchor="ctr">
                    <a:solidFill>
                      <a:srgbClr val="003E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300" b="1" kern="1200" dirty="0">
                          <a:solidFill>
                            <a:schemeClr val="bg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44-ФЗ ("Государственные и муниципальные нужды")</a:t>
                      </a:r>
                    </a:p>
                  </a:txBody>
                  <a:tcPr marL="48000" marR="48000" marT="36000" marB="36000" anchor="ctr">
                    <a:solidFill>
                      <a:srgbClr val="003E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300" b="1" kern="1200" dirty="0">
                          <a:solidFill>
                            <a:schemeClr val="bg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223-ФЗ ("Государственные компании")</a:t>
                      </a:r>
                    </a:p>
                  </a:txBody>
                  <a:tcPr marL="48000" marR="48000" marT="36000" marB="36000" anchor="ctr">
                    <a:solidFill>
                      <a:srgbClr val="003E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300" b="1" kern="1200" dirty="0">
                          <a:solidFill>
                            <a:schemeClr val="bg1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Иные торги, запросы котировок, запросы предложений</a:t>
                      </a:r>
                    </a:p>
                  </a:txBody>
                  <a:tcPr marL="48000" marR="48000" marT="36000" marB="36000" anchor="ctr">
                    <a:solidFill>
                      <a:srgbClr val="003E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0244">
                <a:tc>
                  <a:txBody>
                    <a:bodyPr/>
                    <a:lstStyle/>
                    <a:p>
                      <a:pPr algn="just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50" b="0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Координация деятельности участников, заключение соглашений, приводящих к ограничению конкуренции</a:t>
                      </a: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lang="ru-RU" sz="1300" b="1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lang="ru-RU" sz="1300" b="1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3315E"/>
                          </a:solidFill>
                          <a:effectLst/>
                          <a:uLnTx/>
                          <a:uFillTx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kumimoji="0" lang="ru-RU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3315E"/>
                        </a:solidFill>
                        <a:effectLst/>
                        <a:uLnTx/>
                        <a:uFillTx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3555">
                <a:tc>
                  <a:txBody>
                    <a:bodyPr/>
                    <a:lstStyle/>
                    <a:p>
                      <a:pPr algn="just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50" b="0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Создание участнику торгов преимущественных условий</a:t>
                      </a:r>
                    </a:p>
                  </a:txBody>
                  <a:tcPr marL="121920" marR="121920" marT="0" marB="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lang="ru-RU" sz="1300" b="1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lang="ru-RU" sz="1300" b="1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3315E"/>
                          </a:solidFill>
                          <a:effectLst/>
                          <a:uLnTx/>
                          <a:uFillTx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kumimoji="0" lang="ru-RU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3315E"/>
                        </a:solidFill>
                        <a:effectLst/>
                        <a:uLnTx/>
                        <a:uFillTx/>
                        <a:latin typeface="Arial"/>
                        <a:ea typeface="Times New Roman"/>
                        <a:cs typeface="Times New Roman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endParaRPr lang="ru-RU" sz="1300" b="1" dirty="0">
                        <a:solidFill>
                          <a:srgbClr val="13315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0" marB="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5146">
                <a:tc>
                  <a:txBody>
                    <a:bodyPr/>
                    <a:lstStyle/>
                    <a:p>
                      <a:pPr algn="just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50" b="0" kern="1200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Нарушение порядка определения победителя</a:t>
                      </a: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1200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lang="ru-RU" sz="1300" b="1" kern="1200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1200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lang="ru-RU" sz="1300" b="1" kern="1200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kern="1200" noProof="0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lang="ru-RU" sz="1300" b="1" kern="1200" noProof="0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9422">
                <a:tc>
                  <a:txBody>
                    <a:bodyPr/>
                    <a:lstStyle/>
                    <a:p>
                      <a:pPr algn="just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50" b="0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Участие организаторов и заказчиков в торгах</a:t>
                      </a:r>
                    </a:p>
                  </a:txBody>
                  <a:tcPr marL="121920" marR="121920" marT="0" marB="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lang="ru-RU" sz="1300" b="1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lang="ru-RU" sz="1300" b="1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3315E"/>
                          </a:solidFill>
                          <a:effectLst/>
                          <a:uLnTx/>
                          <a:uFillTx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kumimoji="0" lang="ru-RU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3315E"/>
                        </a:solidFill>
                        <a:effectLst/>
                        <a:uLnTx/>
                        <a:uFillTx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3555">
                <a:tc>
                  <a:txBody>
                    <a:bodyPr/>
                    <a:lstStyle/>
                    <a:p>
                      <a:pPr marL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50" b="0" kern="1200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Установление непредусмотренных ограничений доступа к участию</a:t>
                      </a: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1200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lang="ru-RU" sz="1300" b="1" kern="1200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kern="1200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―</a:t>
                      </a:r>
                      <a:endParaRPr lang="ru-RU" sz="1300" b="1" kern="1200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kern="1200" noProof="0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―</a:t>
                      </a:r>
                      <a:endParaRPr lang="ru-RU" sz="1300" b="1" kern="1200" noProof="0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17298">
                <a:tc>
                  <a:txBody>
                    <a:bodyPr/>
                    <a:lstStyle/>
                    <a:p>
                      <a:pPr algn="just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50" b="0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Включение в состав лотов товаров, технологически и функционально не связанных с предметом торгов</a:t>
                      </a:r>
                    </a:p>
                  </a:txBody>
                  <a:tcPr marL="121920" marR="121920" marT="0" marB="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lang="ru-RU" sz="1300" b="1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Arial"/>
                        </a:rPr>
                        <a:t>―</a:t>
                      </a:r>
                      <a:endParaRPr lang="ru-RU" sz="1300" b="1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3315E"/>
                          </a:solidFill>
                          <a:effectLst/>
                          <a:uLnTx/>
                          <a:uFillTx/>
                          <a:latin typeface="Arial"/>
                          <a:ea typeface="Times New Roman"/>
                          <a:cs typeface="Arial"/>
                        </a:rPr>
                        <a:t>―</a:t>
                      </a:r>
                      <a:endParaRPr kumimoji="0" lang="ru-RU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13315E"/>
                        </a:solidFill>
                        <a:effectLst/>
                        <a:uLnTx/>
                        <a:uFillTx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12706">
                <a:tc>
                  <a:txBody>
                    <a:bodyPr/>
                    <a:lstStyle/>
                    <a:p>
                      <a:pPr algn="just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50" b="0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Иные действия, которые приводят или могут привести к недопущению, ограничению или устранению конкуренции</a:t>
                      </a: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lang="ru-RU" sz="1300" b="1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lang="ru-RU" sz="1300" b="1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13315E"/>
                          </a:solidFill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V</a:t>
                      </a:r>
                      <a:endParaRPr lang="ru-RU" sz="1300" b="1" dirty="0">
                        <a:solidFill>
                          <a:srgbClr val="13315E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21920" marR="121920" marT="0" marB="0" anchor="ctr"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</p:spPr>
        <p:txBody>
          <a:bodyPr/>
          <a:lstStyle/>
          <a:p>
            <a:fld id="{117E5629-5E8C-4ACA-B14E-CD150F30CCDD}" type="slidenum">
              <a:rPr lang="en-GB" noProof="0" smtClean="0"/>
              <a:pPr/>
              <a:t>27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595718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20003" y="720002"/>
            <a:ext cx="10751987" cy="5493761"/>
          </a:xfrm>
        </p:spPr>
        <p:txBody>
          <a:bodyPr vert="horz" lIns="80147" tIns="40074" rIns="80147" bIns="40074" rtlCol="0" anchor="t">
            <a:noAutofit/>
          </a:bodyPr>
          <a:lstStyle/>
          <a:p>
            <a:r>
              <a:rPr lang="ru-RU" dirty="0"/>
              <a:t>Примеры</a:t>
            </a:r>
            <a:endParaRPr lang="de-DE" dirty="0"/>
          </a:p>
        </p:txBody>
      </p:sp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sp>
        <p:nvSpPr>
          <p:cNvPr id="11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</p:spPr>
        <p:txBody>
          <a:bodyPr/>
          <a:lstStyle/>
          <a:p>
            <a:fld id="{117E5629-5E8C-4ACA-B14E-CD150F30CCDD}" type="slidenum">
              <a:rPr lang="en-GB" noProof="0" smtClean="0"/>
              <a:pPr/>
              <a:t>28</a:t>
            </a:fld>
            <a:endParaRPr lang="en-GB" noProof="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898" y="1218154"/>
            <a:ext cx="6573168" cy="257210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8379" y="3790263"/>
            <a:ext cx="6458852" cy="2200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282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ЕСТР недобросовестных поставщиков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17E5629-5E8C-4ACA-B14E-CD150F30CCDD}" type="slidenum">
              <a:rPr lang="en-GB" noProof="0" smtClean="0"/>
              <a:pPr/>
              <a:t>29</a:t>
            </a:fld>
            <a:endParaRPr lang="en-GB" noProof="0" dirty="0"/>
          </a:p>
        </p:txBody>
      </p:sp>
      <p:sp>
        <p:nvSpPr>
          <p:cNvPr id="15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.</a:t>
            </a:r>
            <a:r>
              <a:rPr lang="de-DE" dirty="0"/>
              <a:t>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graphicFrame>
        <p:nvGraphicFramePr>
          <p:cNvPr id="17" name="Диаграмма 16"/>
          <p:cNvGraphicFramePr/>
          <p:nvPr>
            <p:extLst>
              <p:ext uri="{D42A27DB-BD31-4B8C-83A1-F6EECF244321}">
                <p14:modId xmlns:p14="http://schemas.microsoft.com/office/powerpoint/2010/main" val="2869730570"/>
              </p:ext>
            </p:extLst>
          </p:nvPr>
        </p:nvGraphicFramePr>
        <p:xfrm>
          <a:off x="730250" y="1637593"/>
          <a:ext cx="10785475" cy="41948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730250" y="5622366"/>
            <a:ext cx="7231584" cy="4217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: официальный сайт Федеральной антимонопольной службы Росси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270979" y="1398937"/>
            <a:ext cx="969887" cy="355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600" spc="-10" dirty="0">
                <a:ea typeface="Cambria" panose="02040503050406030204" pitchFamily="18" charset="0"/>
              </a:rPr>
              <a:t>2018 г.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8309578" y="1398936"/>
            <a:ext cx="969887" cy="355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600" spc="-10" dirty="0">
                <a:ea typeface="Cambria" panose="02040503050406030204" pitchFamily="18" charset="0"/>
              </a:rPr>
              <a:t>2019 г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051710" y="1872053"/>
            <a:ext cx="969887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en-US" sz="1400" spc="-10" dirty="0">
                <a:ea typeface="Cambria" panose="02040503050406030204" pitchFamily="18" charset="0"/>
              </a:rPr>
              <a:t>27 599</a:t>
            </a:r>
            <a:endParaRPr lang="ru-RU" sz="1400" spc="-10" dirty="0">
              <a:ea typeface="Cambria" panose="020405030504060302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934052" y="3078344"/>
            <a:ext cx="969887" cy="3061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en-US" sz="1400" spc="-10" dirty="0">
                <a:ea typeface="Cambria" panose="02040503050406030204" pitchFamily="18" charset="0"/>
              </a:rPr>
              <a:t>12 966</a:t>
            </a:r>
            <a:endParaRPr lang="ru-RU" sz="1400" spc="-10" dirty="0">
              <a:ea typeface="Cambria" panose="020405030504060302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659829" y="3078344"/>
            <a:ext cx="969887" cy="3061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en-US" sz="1400" spc="-10" dirty="0">
                <a:ea typeface="Cambria" panose="02040503050406030204" pitchFamily="18" charset="0"/>
              </a:rPr>
              <a:t>14 117</a:t>
            </a:r>
            <a:endParaRPr lang="ru-RU" sz="1400" spc="-10" dirty="0">
              <a:ea typeface="Cambria" panose="02040503050406030204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8985414" y="3610682"/>
            <a:ext cx="969887" cy="3061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en-US" sz="1400" spc="-10" dirty="0">
                <a:ea typeface="Cambria" panose="02040503050406030204" pitchFamily="18" charset="0"/>
              </a:rPr>
              <a:t>7 082</a:t>
            </a:r>
            <a:endParaRPr lang="ru-RU" sz="1400" spc="-10" dirty="0"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29140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атистика (</a:t>
            </a:r>
            <a:r>
              <a:rPr lang="en-US" dirty="0"/>
              <a:t>I</a:t>
            </a:r>
            <a:r>
              <a:rPr lang="ru-RU" dirty="0"/>
              <a:t>)</a:t>
            </a:r>
            <a:br>
              <a:rPr lang="de-DE" dirty="0"/>
            </a:br>
            <a:r>
              <a:rPr lang="ru-RU" dirty="0"/>
              <a:t>рассмотрения дел ФАС России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17E5629-5E8C-4ACA-B14E-CD150F30CCDD}" type="slidenum">
              <a:rPr lang="en-GB" noProof="0" smtClean="0"/>
              <a:pPr/>
              <a:t>3</a:t>
            </a:fld>
            <a:endParaRPr lang="en-GB" noProof="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730250" y="5913020"/>
            <a:ext cx="7231584" cy="4217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: официальный сайт Федеральной антимонопольной службы России</a:t>
            </a: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0847694"/>
              </p:ext>
            </p:extLst>
          </p:nvPr>
        </p:nvGraphicFramePr>
        <p:xfrm>
          <a:off x="730251" y="1473200"/>
          <a:ext cx="10785474" cy="4359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Ответственность за нарушение</a:t>
            </a:r>
            <a:r>
              <a:rPr lang="en-US" dirty="0"/>
              <a:t> </a:t>
            </a:r>
            <a:r>
              <a:rPr lang="ru-RU" dirty="0"/>
              <a:t>антимонопольных требований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291836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20004" y="1906948"/>
            <a:ext cx="10762384" cy="612001"/>
          </a:xfrm>
        </p:spPr>
        <p:txBody>
          <a:bodyPr wrap="square"/>
          <a:lstStyle/>
          <a:p>
            <a:r>
              <a:rPr lang="ru-RU" dirty="0"/>
              <a:t>Злоупотребления </a:t>
            </a:r>
            <a:br>
              <a:rPr lang="ru-RU" dirty="0"/>
            </a:br>
            <a:r>
              <a:rPr lang="ru-RU" dirty="0"/>
              <a:t>при реализации товаров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5B617DF-0598-4CB7-9ACB-BD8355A1A30B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73401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лоупотребление доминирующим положением (</a:t>
            </a:r>
            <a:r>
              <a:rPr lang="de-DE" dirty="0"/>
              <a:t>I</a:t>
            </a:r>
            <a:r>
              <a:rPr lang="ru-RU" dirty="0"/>
              <a:t>)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17E5629-5E8C-4ACA-B14E-CD150F30CCDD}" type="slidenum">
              <a:rPr lang="en-GB" noProof="0" smtClean="0"/>
              <a:pPr/>
              <a:t>31</a:t>
            </a:fld>
            <a:endParaRPr lang="en-GB" noProof="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494843" y="2422863"/>
            <a:ext cx="9020882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</a:pPr>
            <a:r>
              <a:rPr lang="ru-RU" sz="2000" dirty="0"/>
              <a:t>Запрещаются действия (бездействие) занимающего доминирующее положение хозяйствующего субъекта, результатом которых являются или могут являться недопущение, ограничение, устранение конкуренции и (или) ущемление интересов других лиц (хозяйствующих субъектов) в сфере предпринимательской деятельности либо неопределенного круга потребителей</a:t>
            </a:r>
          </a:p>
        </p:txBody>
      </p:sp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465" y="2241176"/>
            <a:ext cx="1583323" cy="245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</p:spTree>
    <p:extLst>
      <p:ext uri="{BB962C8B-B14F-4D97-AF65-F5344CB8AC3E}">
        <p14:creationId xmlns:p14="http://schemas.microsoft.com/office/powerpoint/2010/main" val="70301133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ные понятия</a:t>
            </a:r>
            <a:r>
              <a:rPr lang="de-DE" dirty="0"/>
              <a:t>: "</a:t>
            </a:r>
            <a:r>
              <a:rPr lang="ru-RU" dirty="0"/>
              <a:t>доминирующее положение</a:t>
            </a:r>
            <a:r>
              <a:rPr lang="de-DE" dirty="0"/>
              <a:t>"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17E5629-5E8C-4ACA-B14E-CD150F30CCDD}" type="slidenum">
              <a:rPr lang="en-GB" noProof="0" smtClean="0"/>
              <a:pPr/>
              <a:t>32</a:t>
            </a:fld>
            <a:endParaRPr lang="en-GB" noProof="0" dirty="0"/>
          </a:p>
        </p:txBody>
      </p:sp>
      <p:graphicFrame>
        <p:nvGraphicFramePr>
          <p:cNvPr id="24" name="Схема 23">
            <a:extLst>
              <a:ext uri="{FF2B5EF4-FFF2-40B4-BE49-F238E27FC236}">
                <a16:creationId xmlns:a16="http://schemas.microsoft.com/office/drawing/2014/main" id="{B35C3BA6-960B-4647-9ADB-433A93F0F6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9284775"/>
              </p:ext>
            </p:extLst>
          </p:nvPr>
        </p:nvGraphicFramePr>
        <p:xfrm>
          <a:off x="1295467" y="1397000"/>
          <a:ext cx="9217024" cy="49123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</p:spTree>
    <p:extLst>
      <p:ext uri="{BB962C8B-B14F-4D97-AF65-F5344CB8AC3E}">
        <p14:creationId xmlns:p14="http://schemas.microsoft.com/office/powerpoint/2010/main" val="83392567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лоупотребление доминирующим положением (</a:t>
            </a:r>
            <a:r>
              <a:rPr lang="de-DE" dirty="0"/>
              <a:t>I</a:t>
            </a:r>
            <a:r>
              <a:rPr lang="en-US" dirty="0"/>
              <a:t>I</a:t>
            </a:r>
            <a:r>
              <a:rPr lang="ru-RU" dirty="0"/>
              <a:t>)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17E5629-5E8C-4ACA-B14E-CD150F30CCDD}" type="slidenum">
              <a:rPr lang="en-GB" noProof="0" smtClean="0"/>
              <a:pPr/>
              <a:t>33</a:t>
            </a:fld>
            <a:endParaRPr lang="en-GB" noProof="0" dirty="0"/>
          </a:p>
        </p:txBody>
      </p:sp>
      <p:graphicFrame>
        <p:nvGraphicFramePr>
          <p:cNvPr id="24" name="Схема 23">
            <a:extLst>
              <a:ext uri="{FF2B5EF4-FFF2-40B4-BE49-F238E27FC236}">
                <a16:creationId xmlns:a16="http://schemas.microsoft.com/office/drawing/2014/main" id="{B35C3BA6-960B-4647-9ADB-433A93F0F6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1103668"/>
              </p:ext>
            </p:extLst>
          </p:nvPr>
        </p:nvGraphicFramePr>
        <p:xfrm>
          <a:off x="1295467" y="1397000"/>
          <a:ext cx="9217024" cy="49123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</p:spTree>
    <p:extLst>
      <p:ext uri="{BB962C8B-B14F-4D97-AF65-F5344CB8AC3E}">
        <p14:creationId xmlns:p14="http://schemas.microsoft.com/office/powerpoint/2010/main" val="350001768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ru-RU" dirty="0"/>
              <a:t>Ответственность за злоупотребление доминирующим положением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237785"/>
              </p:ext>
            </p:extLst>
          </p:nvPr>
        </p:nvGraphicFramePr>
        <p:xfrm>
          <a:off x="730250" y="1523998"/>
          <a:ext cx="10785475" cy="44202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586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552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716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5383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ы</a:t>
                      </a:r>
                      <a:r>
                        <a:rPr lang="ru-RU" sz="1600" b="1" baseline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тветственности</a:t>
                      </a:r>
                      <a:endParaRPr lang="ru-RU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ания</a:t>
                      </a:r>
                    </a:p>
                  </a:txBody>
                  <a:tcPr marL="121920" marR="1219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жностное лицо компании</a:t>
                      </a:r>
                    </a:p>
                  </a:txBody>
                  <a:tcPr marL="121920" marR="12192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7374"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дминистративная</a:t>
                      </a:r>
                      <a:r>
                        <a:rPr lang="ru-RU" sz="1600" b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ветственность</a:t>
                      </a:r>
                    </a:p>
                  </a:txBody>
                  <a:tcPr marL="121920" marR="1219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траф от 0,01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0,15 размера суммы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ручки правонарушителя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реализации товара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бо размера суммы расходов правонарушителя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приобретение товара, 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более 0,02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овокупного размера суммы выручки от реализации всех товаров и не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нее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 000 рублей</a:t>
                      </a:r>
                    </a:p>
                  </a:txBody>
                  <a:tcPr marL="121920" marR="19200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траф от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000 до 50 000 рублей</a:t>
                      </a:r>
                    </a:p>
                  </a:txBody>
                  <a:tcPr marL="121920" marR="121920" anchor="ctr"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7404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ли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9200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</a:pPr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ли</a:t>
                      </a:r>
                      <a:endParaRPr lang="ru-RU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rgbClr val="E7E6E6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1790"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Штраф от 0,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03 до 0,03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мера суммы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ручки правонарушителя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реализации товара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бо размера суммы расходов правонарушителя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приобретение товара, 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более 0,02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овокупного размера суммы выручки от реализации всех товаров и не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нее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 000 рублей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если сумма выручки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 рынке совершения правонарушения превышает 0,75 совокупного размера выручки от реализации всех товаров или правонарушение совершено на рынке с регулируемыми ценами)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92000" anchor="ctr"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сквалификация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 срок </a:t>
                      </a:r>
                      <a:br>
                        <a:rPr lang="ru-RU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400" b="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3 лет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8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sp>
        <p:nvSpPr>
          <p:cNvPr id="10" name="Foliennummernplatzhalter 3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</p:spPr>
        <p:txBody>
          <a:bodyPr/>
          <a:lstStyle/>
          <a:p>
            <a:fld id="{117E5629-5E8C-4ACA-B14E-CD150F30CCDD}" type="slidenum">
              <a:rPr lang="en-GB" noProof="0" smtClean="0"/>
              <a:pPr/>
              <a:t>3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1681250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20004" y="1906948"/>
            <a:ext cx="10762384" cy="612001"/>
          </a:xfrm>
        </p:spPr>
        <p:txBody>
          <a:bodyPr wrap="square"/>
          <a:lstStyle/>
          <a:p>
            <a:r>
              <a:rPr lang="ru-RU" dirty="0"/>
              <a:t>Разъяснения верховного суда по вопросам применения антимонопольного законодательства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</a:t>
            </a:r>
            <a:r>
              <a:rPr lang="ru-RU" dirty="0">
                <a:solidFill>
                  <a:srgbClr val="003E77"/>
                </a:solidFill>
              </a:rPr>
              <a:t>13</a:t>
            </a:r>
            <a:r>
              <a:rPr lang="de-DE" dirty="0">
                <a:solidFill>
                  <a:srgbClr val="003E77"/>
                </a:solidFill>
              </a:rPr>
              <a:t>.</a:t>
            </a:r>
            <a:r>
              <a:rPr lang="ru-RU" dirty="0">
                <a:solidFill>
                  <a:srgbClr val="003E77"/>
                </a:solidFill>
              </a:rPr>
              <a:t>04</a:t>
            </a:r>
            <a:r>
              <a:rPr lang="de-DE" dirty="0">
                <a:solidFill>
                  <a:srgbClr val="003E77"/>
                </a:solidFill>
              </a:rPr>
              <a:t>.202</a:t>
            </a:r>
            <a:r>
              <a:rPr lang="ru-RU" dirty="0">
                <a:solidFill>
                  <a:srgbClr val="003E77"/>
                </a:solidFill>
              </a:rPr>
              <a:t>1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>
                <a:solidFill>
                  <a:srgbClr val="003E77"/>
                </a:solidFill>
              </a:rPr>
              <a:t>| Ответственность за нарушение антимонопольных требований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35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130022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quarter" idx="13"/>
          </p:nvPr>
        </p:nvSpPr>
        <p:spPr>
          <a:xfrm>
            <a:off x="730250" y="1484417"/>
            <a:ext cx="10751987" cy="2289300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ru-RU" sz="1500" dirty="0"/>
              <a:t>Постановление Пленума ВС РФ от 04.03.2021 г. № 2 </a:t>
            </a:r>
            <a:r>
              <a:rPr lang="de-DE" sz="1500" dirty="0"/>
              <a:t>„</a:t>
            </a:r>
            <a:r>
              <a:rPr lang="ru-RU" sz="1500" dirty="0"/>
              <a:t>О некоторых вопросах, возникающих в связи с применением судами антимонопольного законодательства</a:t>
            </a:r>
            <a:r>
              <a:rPr lang="de-DE" sz="1500" dirty="0"/>
              <a:t>“</a:t>
            </a:r>
            <a:endParaRPr lang="ru-RU" sz="1500" dirty="0"/>
          </a:p>
          <a:p>
            <a:pPr defTabSz="4572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endParaRPr lang="ru-RU" sz="18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endParaRPr lang="ru-RU" sz="16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зъяснения верховного суда по вопросам применения антимонопольного законодательства (</a:t>
            </a:r>
            <a:r>
              <a:rPr lang="de-DE" dirty="0"/>
              <a:t>I</a:t>
            </a:r>
            <a:r>
              <a:rPr lang="ru-RU" dirty="0"/>
              <a:t>)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</a:t>
            </a:r>
            <a:r>
              <a:rPr lang="ru-RU" dirty="0"/>
              <a:t>1</a:t>
            </a:r>
            <a:r>
              <a:rPr lang="de-DE" dirty="0"/>
              <a:t>3.04.2021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5B617DF-0598-4CB7-9ACB-BD8355A1A30B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730250" y="2069837"/>
            <a:ext cx="10791190" cy="510197"/>
          </a:xfrm>
          <a:prstGeom prst="roundRect">
            <a:avLst/>
          </a:prstGeom>
          <a:solidFill>
            <a:srgbClr val="003E77"/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just"/>
            <a:r>
              <a:rPr lang="ru-RU" dirty="0">
                <a:solidFill>
                  <a:prstClr val="white"/>
                </a:solidFill>
                <a:latin typeface="Arial"/>
              </a:rPr>
              <a:t>Группа лиц: изъятия из правового режима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730250" y="3411031"/>
            <a:ext cx="10791190" cy="510197"/>
          </a:xfrm>
          <a:prstGeom prst="roundRect">
            <a:avLst/>
          </a:prstGeom>
          <a:solidFill>
            <a:srgbClr val="003E77"/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just"/>
            <a:r>
              <a:rPr lang="ru-RU" dirty="0">
                <a:solidFill>
                  <a:prstClr val="white"/>
                </a:solidFill>
                <a:latin typeface="Arial"/>
              </a:rPr>
              <a:t>Злоупотребление доминирующим положением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30250" y="3937770"/>
            <a:ext cx="10791190" cy="2292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 defTabSz="801046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ушение обязательств и недобросовестное поведение доминирующего субъекта: могло ли лицо вести себя подобным образом в отсутствие доминирующего положения;</a:t>
            </a:r>
          </a:p>
          <a:p>
            <a:pPr marL="285750" lvl="0" indent="-285750" algn="just" defTabSz="801046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ы навязывания невыгодных условий;</a:t>
            </a:r>
          </a:p>
          <a:p>
            <a:pPr marL="285750" lvl="0" indent="-285750" algn="just" defTabSz="801046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контрагента пресечь антимонопольное нарушение как до, так и после заключения договора. Отсутствие возражений со стороны контрагента на стадии заключения договора не влияет на квалификацию;</a:t>
            </a:r>
          </a:p>
          <a:p>
            <a:pPr marL="285750" lvl="0" indent="-285750" algn="just" defTabSz="801046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основанное прекращение производства товаров, отказ или уклонение от заключения договора: что может приниматься во внимание при оценке обоснованности отказа от производства.</a:t>
            </a:r>
            <a:endParaRPr lang="ru-R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30250" y="2580034"/>
            <a:ext cx="107911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Bef>
                <a:spcPts val="600"/>
              </a:spcBef>
            </a:pPr>
            <a:r>
              <a:rPr lang="ru-RU" sz="1600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лицу, формально вошедшему в группу лиц, может не применяться правовой режим этой группы, если при рассмотрении дела будет установлено, что в действительности данное лицо автономно в определении своего поведения на товарном рынке. </a:t>
            </a:r>
          </a:p>
        </p:txBody>
      </p:sp>
    </p:spTree>
    <p:extLst>
      <p:ext uri="{BB962C8B-B14F-4D97-AF65-F5344CB8AC3E}">
        <p14:creationId xmlns:p14="http://schemas.microsoft.com/office/powerpoint/2010/main" val="27591149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3E77"/>
                </a:solidFill>
              </a:rPr>
              <a:t>Разъяснения верховного суда по вопросам применения антимонопольного законодательства (</a:t>
            </a:r>
            <a:r>
              <a:rPr lang="de-DE" dirty="0" err="1">
                <a:solidFill>
                  <a:srgbClr val="003E77"/>
                </a:solidFill>
              </a:rPr>
              <a:t>iI</a:t>
            </a:r>
            <a:r>
              <a:rPr lang="ru-RU" dirty="0">
                <a:solidFill>
                  <a:srgbClr val="003E77"/>
                </a:solidFill>
              </a:rPr>
              <a:t>)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5B617DF-0598-4CB7-9ACB-BD8355A1A30B}" type="slidenum">
              <a:rPr lang="en-US" smtClean="0"/>
              <a:pPr/>
              <a:t>37</a:t>
            </a:fld>
            <a:endParaRPr lang="en-US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730250" y="1617856"/>
            <a:ext cx="10791190" cy="510197"/>
          </a:xfrm>
          <a:prstGeom prst="roundRect">
            <a:avLst/>
          </a:prstGeom>
          <a:solidFill>
            <a:srgbClr val="003E77"/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just"/>
            <a:r>
              <a:rPr lang="ru-RU" dirty="0">
                <a:solidFill>
                  <a:prstClr val="white"/>
                </a:solidFill>
                <a:latin typeface="Arial"/>
              </a:rPr>
              <a:t>Злоупотребление доминирующим положением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30250" y="2161211"/>
            <a:ext cx="10791190" cy="1800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801046">
              <a:spcBef>
                <a:spcPts val="600"/>
              </a:spcBef>
            </a:pPr>
            <a:r>
              <a:rPr lang="ru-RU" sz="1600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основанное установление цен на товары: злоупотреблением может быть признано:</a:t>
            </a:r>
          </a:p>
          <a:p>
            <a:pPr marL="285750" lvl="0" indent="-285750" algn="just" defTabSz="801046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основанное установление различных цен (тарифов) на один и тот же товар;</a:t>
            </a:r>
          </a:p>
          <a:p>
            <a:pPr marL="285750" lvl="0" indent="-285750" algn="just" defTabSz="801046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ие одинаковых цен (тарифов) в переделах различных территорий.</a:t>
            </a:r>
          </a:p>
          <a:p>
            <a:pPr lvl="0" algn="just" defTabSz="801046">
              <a:spcBef>
                <a:spcPts val="600"/>
              </a:spcBef>
            </a:pPr>
            <a:r>
              <a:rPr lang="ru-RU" sz="1600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является злоупотреблением установление различных цен (предоставление скидок) в зависимости от объема приобретения товара покупателем, если данный критерий применяется ко всем контрагентам равным образом.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730250" y="3983282"/>
            <a:ext cx="10791190" cy="510197"/>
          </a:xfrm>
          <a:prstGeom prst="roundRect">
            <a:avLst/>
          </a:prstGeom>
          <a:solidFill>
            <a:srgbClr val="003E77"/>
          </a:solidFill>
          <a:ln w="12700" cap="flat" cmpd="sng" algn="ctr">
            <a:solidFill>
              <a:prstClr val="white">
                <a:hueOff val="0"/>
                <a:satOff val="0"/>
                <a:lumOff val="0"/>
                <a:alphaOff val="0"/>
              </a:prstClr>
            </a:solidFill>
            <a:prstDash val="solid"/>
            <a:miter lim="800000"/>
          </a:ln>
          <a:effectLst/>
        </p:spPr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just"/>
            <a:r>
              <a:rPr lang="ru-RU" dirty="0">
                <a:solidFill>
                  <a:prstClr val="white"/>
                </a:solidFill>
                <a:latin typeface="Arial"/>
              </a:rPr>
              <a:t>Картели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30250" y="4545587"/>
            <a:ext cx="1079119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хожесть поведения нескольких хозяйствующих субъектов сама по себе не является основанием для вывода о наличии между ними картельного сговора. Необходимо учитывать, имелись ли иные причины для схожего поведения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solidFill>
                  <a:srgbClr val="13315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азывание наличия картельного сговора: бремя доказывания лежит на антимонопольном органе. Необходимо учитывать ожидаемое состояние рынка и положение его участников, фактическое влияние на состояние конкуренции на рынке.</a:t>
            </a:r>
          </a:p>
        </p:txBody>
      </p:sp>
    </p:spTree>
    <p:extLst>
      <p:ext uri="{BB962C8B-B14F-4D97-AF65-F5344CB8AC3E}">
        <p14:creationId xmlns:p14="http://schemas.microsoft.com/office/powerpoint/2010/main" val="410117216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>
                <a:solidFill>
                  <a:prstClr val="white"/>
                </a:solidFill>
              </a:rPr>
              <a:t>докладчик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</a:t>
            </a:r>
            <a:r>
              <a:rPr lang="ru-RU" dirty="0">
                <a:solidFill>
                  <a:srgbClr val="003E77"/>
                </a:solidFill>
              </a:rPr>
              <a:t>13</a:t>
            </a:r>
            <a:r>
              <a:rPr lang="de-DE" dirty="0">
                <a:solidFill>
                  <a:srgbClr val="003E77"/>
                </a:solidFill>
              </a:rPr>
              <a:t>.</a:t>
            </a:r>
            <a:r>
              <a:rPr lang="ru-RU" dirty="0">
                <a:solidFill>
                  <a:srgbClr val="003E77"/>
                </a:solidFill>
              </a:rPr>
              <a:t>04</a:t>
            </a:r>
            <a:r>
              <a:rPr lang="de-DE" dirty="0">
                <a:solidFill>
                  <a:srgbClr val="003E77"/>
                </a:solidFill>
              </a:rPr>
              <a:t>.202</a:t>
            </a:r>
            <a:r>
              <a:rPr lang="ru-RU" dirty="0">
                <a:solidFill>
                  <a:srgbClr val="003E77"/>
                </a:solidFill>
              </a:rPr>
              <a:t>1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>
                <a:solidFill>
                  <a:srgbClr val="003E77"/>
                </a:solidFill>
              </a:rPr>
              <a:t>| Ответственность за нарушение антимонопольных требований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38</a:t>
            </a:fld>
            <a:endParaRPr lang="en-US" dirty="0">
              <a:solidFill>
                <a:srgbClr val="003E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745526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2623384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6" y="7"/>
            <a:ext cx="158751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178">
              <a:lnSpc>
                <a:spcPts val="2200"/>
              </a:lnSpc>
            </a:pPr>
            <a:endParaRPr lang="de-DE" sz="2400" b="1" dirty="0">
              <a:solidFill>
                <a:prstClr val="white"/>
              </a:solidFill>
              <a:sym typeface="Arial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spcAft>
                <a:spcPts val="0"/>
              </a:spcAft>
            </a:pPr>
            <a:r>
              <a:rPr lang="ru-RU" dirty="0"/>
              <a:t>Партнер</a:t>
            </a:r>
            <a:r>
              <a:rPr lang="en-US" dirty="0"/>
              <a:t> </a:t>
            </a:r>
            <a:r>
              <a:rPr lang="ru-RU" dirty="0"/>
              <a:t>|</a:t>
            </a:r>
            <a:r>
              <a:rPr lang="en-US" dirty="0"/>
              <a:t> </a:t>
            </a:r>
            <a:r>
              <a:rPr lang="ru-RU" dirty="0"/>
              <a:t>Адвокат, </a:t>
            </a:r>
            <a:r>
              <a:rPr lang="en-US" dirty="0"/>
              <a:t>LL.M.</a:t>
            </a:r>
            <a:endParaRPr lang="ru-RU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2278804" y="2657482"/>
            <a:ext cx="4007703" cy="993775"/>
          </a:xfrm>
        </p:spPr>
        <p:txBody>
          <a:bodyPr/>
          <a:lstStyle/>
          <a:p>
            <a:r>
              <a:rPr lang="ru-RU" dirty="0"/>
              <a:t>БАЙТЕН БУРКХАРДТ</a:t>
            </a:r>
          </a:p>
          <a:p>
            <a:r>
              <a:rPr lang="ru-RU" dirty="0"/>
              <a:t>Турчанинов пер. 6/2 </a:t>
            </a:r>
          </a:p>
          <a:p>
            <a:r>
              <a:rPr lang="ru-RU" dirty="0"/>
              <a:t>119034 Москва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>
              <a:lnSpc>
                <a:spcPts val="2000"/>
              </a:lnSpc>
              <a:spcAft>
                <a:spcPct val="0"/>
              </a:spcAft>
              <a:tabLst>
                <a:tab pos="954593" algn="l"/>
              </a:tabLst>
            </a:pPr>
            <a:r>
              <a:rPr lang="ru-RU" altLang="de-DE" dirty="0"/>
              <a:t>Разрешение споров</a:t>
            </a:r>
            <a:endParaRPr lang="de-DE" alt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+7 495 232 96 35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altLang="de-DE" dirty="0"/>
              <a:t>Alexander.Bezborodov@bblaw.com</a:t>
            </a: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5"/>
          </p:nvPr>
        </p:nvSpPr>
        <p:spPr>
          <a:xfrm>
            <a:off x="6819905" y="2175175"/>
            <a:ext cx="4652087" cy="2982018"/>
          </a:xfrm>
        </p:spPr>
        <p:txBody>
          <a:bodyPr/>
          <a:lstStyle/>
          <a:p>
            <a:pPr algn="just"/>
            <a:r>
              <a:rPr lang="ru-RU" dirty="0"/>
              <a:t>Ведение судебных процессов в 	государственных и третейских судах</a:t>
            </a:r>
            <a:endParaRPr lang="en-US" dirty="0"/>
          </a:p>
          <a:p>
            <a:pPr algn="just"/>
            <a:r>
              <a:rPr lang="ru-RU" dirty="0"/>
              <a:t>Внешнеэкономическая деятельность</a:t>
            </a:r>
          </a:p>
          <a:p>
            <a:pPr algn="just"/>
            <a:r>
              <a:rPr lang="de-DE" dirty="0" err="1"/>
              <a:t>Комплаенс</a:t>
            </a:r>
            <a:r>
              <a:rPr lang="de-DE" dirty="0"/>
              <a:t> и </a:t>
            </a:r>
            <a:r>
              <a:rPr lang="de-DE" dirty="0" err="1"/>
              <a:t>внутренние</a:t>
            </a:r>
            <a:r>
              <a:rPr lang="de-DE" dirty="0"/>
              <a:t> </a:t>
            </a:r>
            <a:r>
              <a:rPr lang="de-DE" dirty="0" err="1"/>
              <a:t>расследования</a:t>
            </a:r>
            <a:endParaRPr lang="ru-RU" dirty="0"/>
          </a:p>
          <a:p>
            <a:pPr algn="just"/>
            <a:r>
              <a:rPr lang="ru-RU" dirty="0"/>
              <a:t>Разрешение споров</a:t>
            </a:r>
          </a:p>
          <a:p>
            <a:pPr algn="just"/>
            <a:r>
              <a:rPr lang="de-DE" dirty="0" err="1"/>
              <a:t>Russian</a:t>
            </a:r>
            <a:r>
              <a:rPr lang="de-DE" dirty="0"/>
              <a:t> Desk</a:t>
            </a:r>
          </a:p>
          <a:p>
            <a:pPr marL="0" indent="0">
              <a:buNone/>
            </a:pPr>
            <a:endParaRPr lang="ru-RU" sz="1500" dirty="0"/>
          </a:p>
          <a:p>
            <a:endParaRPr lang="en-GB" sz="150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ru-RU" altLang="de-DE" dirty="0"/>
              <a:t>Русский, немецкий, английский</a:t>
            </a:r>
            <a:endParaRPr lang="de-DE" altLang="de-DE" dirty="0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лександр Безбородов</a:t>
            </a:r>
            <a:endParaRPr lang="de-DE" dirty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>
                <a:solidFill>
                  <a:srgbClr val="003E77"/>
                </a:solidFill>
              </a:rPr>
              <a:t>| </a:t>
            </a:r>
            <a:r>
              <a:rPr lang="ru-RU" dirty="0">
                <a:solidFill>
                  <a:srgbClr val="003E77"/>
                </a:solidFill>
              </a:rPr>
              <a:t>13</a:t>
            </a:r>
            <a:r>
              <a:rPr lang="de-DE" dirty="0">
                <a:solidFill>
                  <a:srgbClr val="003E77"/>
                </a:solidFill>
              </a:rPr>
              <a:t>.</a:t>
            </a:r>
            <a:r>
              <a:rPr lang="ru-RU" dirty="0">
                <a:solidFill>
                  <a:srgbClr val="003E77"/>
                </a:solidFill>
              </a:rPr>
              <a:t>04</a:t>
            </a:r>
            <a:r>
              <a:rPr lang="de-DE" dirty="0">
                <a:solidFill>
                  <a:srgbClr val="003E77"/>
                </a:solidFill>
              </a:rPr>
              <a:t>.202</a:t>
            </a:r>
            <a:r>
              <a:rPr lang="ru-RU" dirty="0">
                <a:solidFill>
                  <a:srgbClr val="003E77"/>
                </a:solidFill>
              </a:rPr>
              <a:t>1</a:t>
            </a:r>
            <a:endParaRPr lang="en-US" dirty="0">
              <a:solidFill>
                <a:srgbClr val="003E77"/>
              </a:solidFill>
            </a:endParaRP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>
                <a:solidFill>
                  <a:srgbClr val="003E77"/>
                </a:solidFill>
              </a:rPr>
              <a:t>| Ответственность за нарушение антимонопольных требований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5B617DF-0598-4CB7-9ACB-BD8355A1A30B}" type="slidenum">
              <a:rPr lang="en-US" smtClean="0">
                <a:solidFill>
                  <a:srgbClr val="003E77"/>
                </a:solidFill>
              </a:rPr>
              <a:pPr/>
              <a:t>39</a:t>
            </a:fld>
            <a:endParaRPr lang="en-US" dirty="0">
              <a:solidFill>
                <a:srgbClr val="003E77"/>
              </a:solidFill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403" y="4293101"/>
            <a:ext cx="489600" cy="707935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952" y="4293101"/>
            <a:ext cx="489600" cy="707935"/>
          </a:xfrm>
          <a:prstGeom prst="rect">
            <a:avLst/>
          </a:prstGeom>
        </p:spPr>
      </p:pic>
      <p:pic>
        <p:nvPicPr>
          <p:cNvPr id="21" name="Рисунок 20"/>
          <p:cNvPicPr>
            <a:picLocks noGrp="1" noChangeAspect="1"/>
          </p:cNvPicPr>
          <p:nvPr>
            <p:ph type="pic" sz="quarter" idx="17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2" b="3492"/>
          <a:stretch>
            <a:fillRect/>
          </a:stretch>
        </p:blipFill>
        <p:spPr/>
      </p:pic>
      <p:pic>
        <p:nvPicPr>
          <p:cNvPr id="9233" name="Picture 17" descr="https://www.beiten-burkhardt.com/sites/default/files/awards/Logo_ABW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403" y="3717037"/>
            <a:ext cx="1353600" cy="409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40698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атистика</a:t>
            </a:r>
            <a:r>
              <a:rPr lang="en-US" dirty="0"/>
              <a:t> (II)</a:t>
            </a:r>
            <a:br>
              <a:rPr lang="en-US" dirty="0"/>
            </a:br>
            <a:r>
              <a:rPr lang="ru-RU" dirty="0"/>
              <a:t>Картели на торгах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17E5629-5E8C-4ACA-B14E-CD150F30CCDD}" type="slidenum">
              <a:rPr lang="en-GB" noProof="0" smtClean="0"/>
              <a:pPr/>
              <a:t>4</a:t>
            </a:fld>
            <a:endParaRPr lang="en-GB" noProof="0" dirty="0"/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2965004683"/>
              </p:ext>
            </p:extLst>
          </p:nvPr>
        </p:nvGraphicFramePr>
        <p:xfrm>
          <a:off x="730250" y="1619249"/>
          <a:ext cx="10785475" cy="4189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730250" y="5808663"/>
            <a:ext cx="7231584" cy="4217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: официальный сайт Федеральной антимонопольной службы России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</p:spTree>
    <p:extLst>
      <p:ext uri="{BB962C8B-B14F-4D97-AF65-F5344CB8AC3E}">
        <p14:creationId xmlns:p14="http://schemas.microsoft.com/office/powerpoint/2010/main" val="366675495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2"/>
          <p:cNvSpPr txBox="1">
            <a:spLocks/>
          </p:cNvSpPr>
          <p:nvPr/>
        </p:nvSpPr>
        <p:spPr>
          <a:xfrm>
            <a:off x="716100" y="748725"/>
            <a:ext cx="7704000" cy="792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defTabSz="914400">
              <a:lnSpc>
                <a:spcPts val="3100"/>
              </a:lnSpc>
              <a:spcBef>
                <a:spcPct val="0"/>
              </a:spcBef>
              <a:buNone/>
              <a:tabLst>
                <a:tab pos="444500" algn="l"/>
              </a:tabLst>
              <a:defRPr sz="2400" b="1" cap="all" spc="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rgbClr val="003E77"/>
                </a:solidFill>
              </a:rPr>
              <a:t>Спасибо за внимание!</a:t>
            </a:r>
            <a:br>
              <a:rPr lang="ru-RU" dirty="0">
                <a:solidFill>
                  <a:srgbClr val="003E77"/>
                </a:solidFill>
              </a:rPr>
            </a:br>
            <a:endParaRPr lang="ru-RU" dirty="0">
              <a:solidFill>
                <a:srgbClr val="003E77"/>
              </a:solidFill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730249" y="3089959"/>
            <a:ext cx="5343291" cy="2181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52413" indent="-252413" algn="l" rtl="0" fontAlgn="base">
              <a:lnSpc>
                <a:spcPts val="2025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4700" indent="-285750" algn="l" rtl="0" fontAlgn="base">
              <a:lnSpc>
                <a:spcPts val="2025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2pPr>
            <a:lvl3pPr marL="1168400" indent="-230188" algn="l" rtl="0" fontAlgn="base">
              <a:lnSpc>
                <a:spcPts val="2025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lnSpc>
                <a:spcPts val="2025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lnSpc>
                <a:spcPts val="2025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lnSpc>
                <a:spcPts val="2025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lnSpc>
                <a:spcPts val="2025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lnSpc>
                <a:spcPts val="2025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lnSpc>
                <a:spcPts val="2025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just" defTabSz="914400">
              <a:lnSpc>
                <a:spcPts val="17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None/>
              <a:defRPr/>
            </a:pPr>
            <a:r>
              <a:rPr lang="ru-RU" sz="1000" dirty="0">
                <a:solidFill>
                  <a:srgbClr val="003E77"/>
                </a:solidFill>
                <a:cs typeface="Arial" panose="020B0604020202020204" pitchFamily="34" charset="0"/>
              </a:rPr>
              <a:t>Настоящая презентация подготовлена нами исключительно в информационных целях и не может рассматриваться в качестве исчерпывающего изложения упомянутых в ней юридических и налоговых вопросов. Настоящая презентация ни при каких обстоятельствах не может считаться юридической или налоговой консультацией БАЙТЕН БУРКХАРДТ </a:t>
            </a:r>
            <a:r>
              <a:rPr lang="ru-RU" sz="1000" dirty="0" err="1">
                <a:solidFill>
                  <a:srgbClr val="003E77"/>
                </a:solidFill>
                <a:cs typeface="Arial" panose="020B0604020202020204" pitchFamily="34" charset="0"/>
              </a:rPr>
              <a:t>Рехтсанвальтсгезельшафт</a:t>
            </a:r>
            <a:r>
              <a:rPr lang="ru-RU" sz="1000" dirty="0">
                <a:solidFill>
                  <a:srgbClr val="003E77"/>
                </a:solidFill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rgbClr val="003E77"/>
                </a:solidFill>
                <a:cs typeface="Arial" panose="020B0604020202020204" pitchFamily="34" charset="0"/>
              </a:rPr>
              <a:t>мбХ</a:t>
            </a:r>
            <a:r>
              <a:rPr lang="ru-RU" sz="1000" dirty="0">
                <a:solidFill>
                  <a:srgbClr val="003E77"/>
                </a:solidFill>
                <a:cs typeface="Arial" panose="020B0604020202020204" pitchFamily="34" charset="0"/>
              </a:rPr>
              <a:t>. </a:t>
            </a:r>
          </a:p>
          <a:p>
            <a:pPr marL="0" lvl="1" indent="0" algn="just" defTabSz="914400">
              <a:lnSpc>
                <a:spcPts val="17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None/>
              <a:defRPr/>
            </a:pPr>
            <a:r>
              <a:rPr lang="ru-RU" sz="1000" dirty="0">
                <a:solidFill>
                  <a:srgbClr val="003E77"/>
                </a:solidFill>
              </a:rPr>
              <a:t>Рассмотренные в настоящей презентации вопросы требуют отдельной подробной  юридической или налоговой консультации в каждом конкретном случае. </a:t>
            </a:r>
          </a:p>
          <a:p>
            <a:pPr marL="0" lvl="1" indent="0" algn="just" defTabSz="914400">
              <a:lnSpc>
                <a:spcPts val="1700"/>
              </a:lnSpc>
              <a:spcBef>
                <a:spcPts val="0"/>
              </a:spcBef>
              <a:spcAft>
                <a:spcPts val="600"/>
              </a:spcAft>
              <a:buFont typeface="Wingdings" pitchFamily="2" charset="2"/>
              <a:buNone/>
              <a:defRPr/>
            </a:pPr>
            <a:endParaRPr lang="ru-RU" sz="1000" dirty="0">
              <a:solidFill>
                <a:srgbClr val="003E77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92209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атистика</a:t>
            </a:r>
            <a:r>
              <a:rPr lang="en-US" dirty="0"/>
              <a:t> (II</a:t>
            </a:r>
            <a:r>
              <a:rPr lang="de-DE" dirty="0"/>
              <a:t>I</a:t>
            </a:r>
            <a:r>
              <a:rPr lang="en-US" dirty="0"/>
              <a:t>)</a:t>
            </a:r>
            <a:br>
              <a:rPr lang="en-US" dirty="0"/>
            </a:br>
            <a:r>
              <a:rPr lang="ru-RU" dirty="0"/>
              <a:t>Сумма наложенных штрафов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17E5629-5E8C-4ACA-B14E-CD150F30CCDD}" type="slidenum">
              <a:rPr lang="en-GB" noProof="0" smtClean="0"/>
              <a:pPr/>
              <a:t>5</a:t>
            </a:fld>
            <a:endParaRPr lang="en-GB" noProof="0" dirty="0"/>
          </a:p>
        </p:txBody>
      </p:sp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:p14="http://schemas.microsoft.com/office/powerpoint/2010/main" val="2275865470"/>
              </p:ext>
            </p:extLst>
          </p:nvPr>
        </p:nvGraphicFramePr>
        <p:xfrm>
          <a:off x="2047875" y="1637593"/>
          <a:ext cx="81280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730250" y="5621583"/>
            <a:ext cx="7231584" cy="4217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: официальный сайт Федеральной антимонопольной службы России</a:t>
            </a:r>
          </a:p>
        </p:txBody>
      </p:sp>
      <p:sp>
        <p:nvSpPr>
          <p:cNvPr id="10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</p:spTree>
    <p:extLst>
      <p:ext uri="{BB962C8B-B14F-4D97-AF65-F5344CB8AC3E}">
        <p14:creationId xmlns:p14="http://schemas.microsoft.com/office/powerpoint/2010/main" val="21159214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атистика</a:t>
            </a:r>
            <a:r>
              <a:rPr lang="en-US" dirty="0"/>
              <a:t> (IV)</a:t>
            </a:r>
            <a:br>
              <a:rPr lang="en-US" dirty="0"/>
            </a:br>
            <a:r>
              <a:rPr lang="ru-RU" dirty="0"/>
              <a:t>Предупреждение / Предостережение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17E5629-5E8C-4ACA-B14E-CD150F30CCDD}" type="slidenum">
              <a:rPr lang="en-GB" noProof="0" smtClean="0"/>
              <a:pPr/>
              <a:t>6</a:t>
            </a:fld>
            <a:endParaRPr lang="en-GB" noProof="0" dirty="0"/>
          </a:p>
        </p:txBody>
      </p:sp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3812720481"/>
              </p:ext>
            </p:extLst>
          </p:nvPr>
        </p:nvGraphicFramePr>
        <p:xfrm>
          <a:off x="1762125" y="2317750"/>
          <a:ext cx="8896350" cy="14908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:p14="http://schemas.microsoft.com/office/powerpoint/2010/main" val="3909168350"/>
              </p:ext>
            </p:extLst>
          </p:nvPr>
        </p:nvGraphicFramePr>
        <p:xfrm>
          <a:off x="2933700" y="4176545"/>
          <a:ext cx="7620000" cy="12961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628748" y="4154149"/>
            <a:ext cx="2741200" cy="2756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200" spc="-10" dirty="0">
                <a:solidFill>
                  <a:schemeClr val="bg2">
                    <a:lumMod val="50000"/>
                  </a:schemeClr>
                </a:solidFill>
                <a:latin typeface="+mn-lt"/>
                <a:ea typeface="Cambria" panose="02040503050406030204" pitchFamily="18" charset="0"/>
              </a:rPr>
              <a:t>Доля исполненных предупреждений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81113" y="2317750"/>
            <a:ext cx="6218812" cy="275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200" spc="-10" dirty="0">
                <a:solidFill>
                  <a:schemeClr val="bg2">
                    <a:lumMod val="50000"/>
                  </a:schemeClr>
                </a:solidFill>
                <a:ea typeface="Cambria" panose="02040503050406030204" pitchFamily="18" charset="0"/>
              </a:rPr>
              <a:t>Выдача предупреждений</a:t>
            </a:r>
            <a:r>
              <a:rPr lang="en-US" sz="1200" spc="-10" dirty="0">
                <a:solidFill>
                  <a:schemeClr val="bg2">
                    <a:lumMod val="50000"/>
                  </a:schemeClr>
                </a:solidFill>
                <a:ea typeface="Cambria" panose="02040503050406030204" pitchFamily="18" charset="0"/>
              </a:rPr>
              <a:t> </a:t>
            </a:r>
            <a:r>
              <a:rPr lang="ru-RU" sz="1200" spc="-10" dirty="0">
                <a:solidFill>
                  <a:schemeClr val="bg2">
                    <a:lumMod val="50000"/>
                  </a:schemeClr>
                </a:solidFill>
                <a:ea typeface="Cambria" panose="02040503050406030204" pitchFamily="18" charset="0"/>
              </a:rPr>
              <a:t>и предостережений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730250" y="5621583"/>
            <a:ext cx="7231584" cy="4217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: официальный сайт Федеральной антимонопольной службы России</a:t>
            </a:r>
          </a:p>
        </p:txBody>
      </p:sp>
      <p:sp>
        <p:nvSpPr>
          <p:cNvPr id="15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sp>
        <p:nvSpPr>
          <p:cNvPr id="17" name="TextBox 2"/>
          <p:cNvSpPr txBox="1">
            <a:spLocks noChangeArrowheads="1"/>
          </p:cNvSpPr>
          <p:nvPr/>
        </p:nvSpPr>
        <p:spPr bwMode="auto">
          <a:xfrm>
            <a:off x="714450" y="1684364"/>
            <a:ext cx="10801275" cy="317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marL="2119313" indent="-2119313" algn="ctr">
              <a:lnSpc>
                <a:spcPts val="1650"/>
              </a:lnSpc>
              <a:buSzPct val="45000"/>
              <a:defRPr/>
            </a:pPr>
            <a:r>
              <a:rPr lang="ru-RU" sz="2000" b="1" dirty="0">
                <a:latin typeface="+mj-lt"/>
                <a:ea typeface="ＭＳ Ｐゴシック" charset="-128"/>
                <a:cs typeface="ＭＳ Ｐゴシック" charset="-128"/>
              </a:rPr>
              <a:t>Статистика за 20</a:t>
            </a:r>
            <a:r>
              <a:rPr lang="de-DE" sz="2000" b="1" dirty="0">
                <a:latin typeface="+mj-lt"/>
                <a:ea typeface="ＭＳ Ｐゴシック" charset="-128"/>
                <a:cs typeface="ＭＳ Ｐゴシック" charset="-128"/>
              </a:rPr>
              <a:t>20</a:t>
            </a:r>
            <a:r>
              <a:rPr lang="ru-RU" sz="2000" b="1" dirty="0">
                <a:latin typeface="+mj-lt"/>
                <a:ea typeface="ＭＳ Ｐゴシック" charset="-128"/>
                <a:cs typeface="ＭＳ Ｐゴシック" charset="-128"/>
              </a:rPr>
              <a:t> год</a:t>
            </a:r>
          </a:p>
        </p:txBody>
      </p:sp>
    </p:spTree>
    <p:extLst>
      <p:ext uri="{BB962C8B-B14F-4D97-AF65-F5344CB8AC3E}">
        <p14:creationId xmlns:p14="http://schemas.microsoft.com/office/powerpoint/2010/main" val="28836134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атистика</a:t>
            </a:r>
            <a:r>
              <a:rPr lang="en-US" dirty="0"/>
              <a:t> (</a:t>
            </a:r>
            <a:r>
              <a:rPr lang="de-DE" dirty="0"/>
              <a:t>V</a:t>
            </a:r>
            <a:r>
              <a:rPr lang="en-US" dirty="0"/>
              <a:t>)</a:t>
            </a:r>
            <a:br>
              <a:rPr lang="en-US" dirty="0"/>
            </a:br>
            <a:r>
              <a:rPr lang="ru-RU" dirty="0"/>
              <a:t>Судебная практика ФАС России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17E5629-5E8C-4ACA-B14E-CD150F30CCDD}" type="slidenum">
              <a:rPr lang="en-GB" noProof="0" smtClean="0"/>
              <a:pPr/>
              <a:t>7</a:t>
            </a:fld>
            <a:endParaRPr lang="en-GB" noProof="0" dirty="0"/>
          </a:p>
        </p:txBody>
      </p:sp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681112" y="1705209"/>
            <a:ext cx="10801275" cy="317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marL="2119313" indent="-2119313" algn="ctr">
              <a:lnSpc>
                <a:spcPts val="1650"/>
              </a:lnSpc>
              <a:buSzPct val="45000"/>
              <a:defRPr/>
            </a:pPr>
            <a:r>
              <a:rPr lang="ru-RU" sz="2000" b="1" dirty="0">
                <a:latin typeface="+mj-lt"/>
                <a:ea typeface="ＭＳ Ｐゴシック" charset="-128"/>
                <a:cs typeface="ＭＳ Ｐゴシック" charset="-128"/>
              </a:rPr>
              <a:t>Статистика за 201</a:t>
            </a:r>
            <a:r>
              <a:rPr lang="en-US" sz="2000" b="1" dirty="0">
                <a:latin typeface="+mj-lt"/>
                <a:ea typeface="ＭＳ Ｐゴシック" charset="-128"/>
                <a:cs typeface="ＭＳ Ｐゴシック" charset="-128"/>
              </a:rPr>
              <a:t>9</a:t>
            </a:r>
            <a:r>
              <a:rPr lang="ru-RU" sz="2000" b="1" dirty="0">
                <a:latin typeface="+mj-lt"/>
                <a:ea typeface="ＭＳ Ｐゴシック" charset="-128"/>
                <a:cs typeface="ＭＳ Ｐゴシック" charset="-128"/>
              </a:rPr>
              <a:t> год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730250" y="5800725"/>
            <a:ext cx="7231584" cy="4217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: официальный сайт Федеральной антимонопольной службы России</a:t>
            </a:r>
          </a:p>
        </p:txBody>
      </p:sp>
      <p:sp>
        <p:nvSpPr>
          <p:cNvPr id="13" name="Номер слайда 3"/>
          <p:cNvSpPr txBox="1">
            <a:spLocks/>
          </p:cNvSpPr>
          <p:nvPr/>
        </p:nvSpPr>
        <p:spPr>
          <a:xfrm>
            <a:off x="7168651" y="6262284"/>
            <a:ext cx="2133600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DEBC92E-39BB-49EB-8567-906EA4F7A241}" type="slidenum">
              <a:rPr lang="ru-RU" smtClean="0">
                <a:solidFill>
                  <a:srgbClr val="FFFFFF"/>
                </a:solidFill>
              </a:rPr>
              <a:pPr/>
              <a:t>7</a:t>
            </a:fld>
            <a:endParaRPr lang="ru-RU" dirty="0">
              <a:solidFill>
                <a:srgbClr val="FFFFFF"/>
              </a:solidFill>
            </a:endParaRPr>
          </a:p>
        </p:txBody>
      </p:sp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val="2459692248"/>
              </p:ext>
            </p:extLst>
          </p:nvPr>
        </p:nvGraphicFramePr>
        <p:xfrm>
          <a:off x="681112" y="2141220"/>
          <a:ext cx="10801275" cy="37601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</p:spTree>
    <p:extLst>
      <p:ext uri="{BB962C8B-B14F-4D97-AF65-F5344CB8AC3E}">
        <p14:creationId xmlns:p14="http://schemas.microsoft.com/office/powerpoint/2010/main" val="24537327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/>
              <a:t>Картельные соглашения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5B617DF-0598-4CB7-9ACB-BD8355A1A30B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45678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 lIns="80147" tIns="40074" rIns="80147" bIns="40074"/>
          <a:lstStyle/>
          <a:p>
            <a:r>
              <a:rPr lang="ru-RU" dirty="0"/>
              <a:t>Картельные соглашения</a:t>
            </a:r>
          </a:p>
        </p:txBody>
      </p:sp>
      <p:sp>
        <p:nvSpPr>
          <p:cNvPr id="6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755950" y="1613647"/>
            <a:ext cx="10804741" cy="946560"/>
          </a:xfrm>
          <a:prstGeom prst="rect">
            <a:avLst/>
          </a:prstGeom>
          <a:solidFill>
            <a:srgbClr val="4F81BD">
              <a:alpha val="50000"/>
            </a:srgbClr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lIns="379640" tIns="42920" rIns="82529" bIns="42920" anchor="ctr"/>
          <a:lstStyle/>
          <a:p>
            <a:pPr algn="just" eaLnBrk="1" hangingPunct="1">
              <a:spcBef>
                <a:spcPts val="600"/>
              </a:spcBef>
              <a:spcAft>
                <a:spcPts val="600"/>
              </a:spcAft>
            </a:pPr>
            <a:r>
              <a:rPr lang="ru-RU" altLang="ru-RU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елем признаются и запрещаются соглашения между хозяйствующими субъектами-конкурентами, которые приводят или могут привести к любому из следующих последствий:</a:t>
            </a:r>
          </a:p>
        </p:txBody>
      </p:sp>
      <p:sp>
        <p:nvSpPr>
          <p:cNvPr id="7" name="AutoShape 88"/>
          <p:cNvSpPr>
            <a:spLocks noChangeArrowheads="1"/>
          </p:cNvSpPr>
          <p:nvPr/>
        </p:nvSpPr>
        <p:spPr bwMode="gray">
          <a:xfrm rot="5400000">
            <a:off x="450047" y="1917719"/>
            <a:ext cx="928224" cy="320083"/>
          </a:xfrm>
          <a:prstGeom prst="triangle">
            <a:avLst>
              <a:gd name="adj" fmla="val 50000"/>
            </a:avLst>
          </a:prstGeom>
          <a:solidFill>
            <a:srgbClr val="003E77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82529" tIns="42920" rIns="82529" bIns="42920" anchor="ctr"/>
          <a:lstStyle/>
          <a:p>
            <a:pPr defTabSz="820826">
              <a:spcBef>
                <a:spcPts val="600"/>
              </a:spcBef>
              <a:buClr>
                <a:schemeClr val="tx2"/>
              </a:buClr>
              <a:buSzPct val="70000"/>
              <a:defRPr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1355873" y="2616404"/>
            <a:ext cx="10187504" cy="602668"/>
          </a:xfrm>
          <a:prstGeom prst="rect">
            <a:avLst/>
          </a:prstGeom>
          <a:solidFill>
            <a:srgbClr val="E7E6E6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lIns="379640" tIns="42920" rIns="82529" bIns="42920" anchor="ctr"/>
          <a:lstStyle/>
          <a:p>
            <a:pPr algn="just">
              <a:spcBef>
                <a:spcPts val="600"/>
              </a:spcBef>
            </a:pP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ие или поддержание цен, скидок или наценок</a:t>
            </a:r>
          </a:p>
        </p:txBody>
      </p:sp>
      <p:sp>
        <p:nvSpPr>
          <p:cNvPr id="11" name="AutoShape 88"/>
          <p:cNvSpPr>
            <a:spLocks noChangeArrowheads="1"/>
          </p:cNvSpPr>
          <p:nvPr/>
        </p:nvSpPr>
        <p:spPr bwMode="gray">
          <a:xfrm rot="5400000">
            <a:off x="1187996" y="2793394"/>
            <a:ext cx="612592" cy="258615"/>
          </a:xfrm>
          <a:prstGeom prst="triangle">
            <a:avLst>
              <a:gd name="adj" fmla="val 50000"/>
            </a:avLst>
          </a:prstGeom>
          <a:solidFill>
            <a:srgbClr val="003E77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82529" tIns="42920" rIns="82529" bIns="42920" anchor="ctr"/>
          <a:lstStyle>
            <a:lvl1pPr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7A"/>
              </a:buClr>
              <a:buSzPct val="70000"/>
              <a:buFont typeface="Wingdings" pitchFamily="2" charset="2"/>
              <a:buNone/>
              <a:defRPr/>
            </a:pP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1372596" y="3220032"/>
            <a:ext cx="10188095" cy="643760"/>
          </a:xfrm>
          <a:prstGeom prst="rect">
            <a:avLst/>
          </a:prstGeom>
          <a:solidFill>
            <a:srgbClr val="E7E6E6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lIns="379640" tIns="42920" rIns="82529" bIns="42920" anchor="ctr"/>
          <a:lstStyle/>
          <a:p>
            <a:pPr algn="just" defTabSz="781572">
              <a:spcBef>
                <a:spcPts val="600"/>
              </a:spcBef>
              <a:buClr>
                <a:srgbClr val="00377A"/>
              </a:buClr>
              <a:buSzPct val="70000"/>
              <a:defRPr/>
            </a:pP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, снижение или поддержание цен на торгах</a:t>
            </a:r>
          </a:p>
        </p:txBody>
      </p:sp>
      <p:sp>
        <p:nvSpPr>
          <p:cNvPr id="13" name="AutoShape 88"/>
          <p:cNvSpPr>
            <a:spLocks noChangeArrowheads="1"/>
          </p:cNvSpPr>
          <p:nvPr/>
        </p:nvSpPr>
        <p:spPr bwMode="gray">
          <a:xfrm rot="5400000">
            <a:off x="1162819" y="3403159"/>
            <a:ext cx="662651" cy="258615"/>
          </a:xfrm>
          <a:prstGeom prst="triangle">
            <a:avLst>
              <a:gd name="adj" fmla="val 50000"/>
            </a:avLst>
          </a:prstGeom>
          <a:solidFill>
            <a:srgbClr val="003E77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82529" tIns="42920" rIns="82529" bIns="42920" anchor="ctr"/>
          <a:lstStyle>
            <a:lvl1pPr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7A"/>
              </a:buClr>
              <a:buSzPct val="70000"/>
              <a:buFont typeface="Wingdings" pitchFamily="2" charset="2"/>
              <a:buNone/>
              <a:defRPr/>
            </a:pP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1361857" y="3854863"/>
            <a:ext cx="10198834" cy="618526"/>
          </a:xfrm>
          <a:prstGeom prst="rect">
            <a:avLst/>
          </a:prstGeom>
          <a:solidFill>
            <a:srgbClr val="E7E6E6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lIns="379640" tIns="42920" rIns="82529" bIns="42920" anchor="ctr"/>
          <a:lstStyle/>
          <a:p>
            <a:pPr algn="just">
              <a:spcBef>
                <a:spcPts val="600"/>
              </a:spcBef>
            </a:pP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 товарного рынка по территориальному принципу, объему продаж или покупки товаров, ассортименту реализуемых товаров либо составу продавцов или покупателей (заказчиков)</a:t>
            </a:r>
          </a:p>
        </p:txBody>
      </p:sp>
      <p:sp>
        <p:nvSpPr>
          <p:cNvPr id="15" name="AutoShape 88"/>
          <p:cNvSpPr>
            <a:spLocks noChangeArrowheads="1"/>
          </p:cNvSpPr>
          <p:nvPr/>
        </p:nvSpPr>
        <p:spPr bwMode="gray">
          <a:xfrm rot="5400000">
            <a:off x="1183466" y="4033257"/>
            <a:ext cx="618525" cy="261737"/>
          </a:xfrm>
          <a:prstGeom prst="triangle">
            <a:avLst>
              <a:gd name="adj" fmla="val 50000"/>
            </a:avLst>
          </a:prstGeom>
          <a:solidFill>
            <a:srgbClr val="003E77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82529" tIns="42920" rIns="82529" bIns="42920" anchor="ctr"/>
          <a:lstStyle>
            <a:lvl1pPr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7A"/>
              </a:buClr>
              <a:buSzPct val="70000"/>
              <a:buFont typeface="Wingdings" pitchFamily="2" charset="2"/>
              <a:buNone/>
              <a:defRPr/>
            </a:pP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1355259" y="4473388"/>
            <a:ext cx="10205431" cy="646694"/>
          </a:xfrm>
          <a:prstGeom prst="rect">
            <a:avLst/>
          </a:prstGeom>
          <a:solidFill>
            <a:srgbClr val="E7E6E6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lIns="379640" tIns="42920" rIns="82529" bIns="42920" anchor="ctr"/>
          <a:lstStyle/>
          <a:p>
            <a:pPr algn="just">
              <a:spcBef>
                <a:spcPts val="600"/>
              </a:spcBef>
            </a:pP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кращение или прекращение производства товаров</a:t>
            </a:r>
          </a:p>
        </p:txBody>
      </p:sp>
      <p:sp>
        <p:nvSpPr>
          <p:cNvPr id="20" name="AutoShape 88"/>
          <p:cNvSpPr>
            <a:spLocks noChangeArrowheads="1"/>
          </p:cNvSpPr>
          <p:nvPr/>
        </p:nvSpPr>
        <p:spPr bwMode="gray">
          <a:xfrm rot="5400000">
            <a:off x="1154594" y="4678682"/>
            <a:ext cx="669203" cy="258615"/>
          </a:xfrm>
          <a:prstGeom prst="triangle">
            <a:avLst>
              <a:gd name="adj" fmla="val 50000"/>
            </a:avLst>
          </a:prstGeom>
          <a:solidFill>
            <a:srgbClr val="003E77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82529" tIns="42920" rIns="82529" bIns="42920" anchor="ctr"/>
          <a:lstStyle>
            <a:lvl1pPr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7A"/>
              </a:buClr>
              <a:buSzPct val="70000"/>
              <a:buFont typeface="Wingdings" pitchFamily="2" charset="2"/>
              <a:buNone/>
              <a:defRPr/>
            </a:pP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87">
            <a:hlinkClick r:id="" action="ppaction://hlinkshowjump?jump=nextslide"/>
          </p:cNvPr>
          <p:cNvSpPr>
            <a:spLocks noChangeArrowheads="1"/>
          </p:cNvSpPr>
          <p:nvPr/>
        </p:nvSpPr>
        <p:spPr bwMode="gray">
          <a:xfrm>
            <a:off x="1384028" y="5120082"/>
            <a:ext cx="10176663" cy="706978"/>
          </a:xfrm>
          <a:prstGeom prst="rect">
            <a:avLst/>
          </a:prstGeom>
          <a:solidFill>
            <a:srgbClr val="E7E6E6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 lIns="379640" tIns="42920" rIns="82529" bIns="42920" anchor="ctr"/>
          <a:lstStyle/>
          <a:p>
            <a:pPr algn="just">
              <a:spcBef>
                <a:spcPts val="600"/>
              </a:spcBef>
            </a:pP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аз от заключения договоров с определенными продавцами или покупателями (заказчиками)</a:t>
            </a:r>
          </a:p>
        </p:txBody>
      </p:sp>
      <p:sp>
        <p:nvSpPr>
          <p:cNvPr id="21" name="Datumsplatzhalter 3"/>
          <p:cNvSpPr>
            <a:spLocks noGrp="1"/>
          </p:cNvSpPr>
          <p:nvPr>
            <p:ph type="dt" sz="half" idx="2"/>
          </p:nvPr>
        </p:nvSpPr>
        <p:spPr>
          <a:xfrm>
            <a:off x="1165225" y="6356351"/>
            <a:ext cx="1399090" cy="144000"/>
          </a:xfrm>
        </p:spPr>
        <p:txBody>
          <a:bodyPr/>
          <a:lstStyle/>
          <a:p>
            <a:r>
              <a:rPr lang="de-DE" dirty="0"/>
              <a:t>| </a:t>
            </a:r>
            <a:r>
              <a:rPr lang="ru-RU" dirty="0"/>
              <a:t>13</a:t>
            </a:r>
            <a:r>
              <a:rPr lang="de-DE" dirty="0"/>
              <a:t>.</a:t>
            </a:r>
            <a:r>
              <a:rPr lang="ru-RU" dirty="0"/>
              <a:t>04</a:t>
            </a:r>
            <a:r>
              <a:rPr lang="de-DE" dirty="0"/>
              <a:t>.202</a:t>
            </a:r>
            <a:r>
              <a:rPr lang="ru-RU" dirty="0"/>
              <a:t>1</a:t>
            </a:r>
            <a:endParaRPr lang="en-US" dirty="0"/>
          </a:p>
        </p:txBody>
      </p:sp>
      <p:sp>
        <p:nvSpPr>
          <p:cNvPr id="22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88129" y="6356351"/>
            <a:ext cx="5379241" cy="144000"/>
          </a:xfrm>
        </p:spPr>
        <p:txBody>
          <a:bodyPr/>
          <a:lstStyle/>
          <a:p>
            <a:r>
              <a:rPr lang="ru-RU" dirty="0"/>
              <a:t>| Ответственность за нарушение антимонопольных требований</a:t>
            </a:r>
          </a:p>
        </p:txBody>
      </p:sp>
      <p:sp>
        <p:nvSpPr>
          <p:cNvPr id="2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20002" y="6356351"/>
            <a:ext cx="125849" cy="144000"/>
          </a:xfrm>
        </p:spPr>
        <p:txBody>
          <a:bodyPr/>
          <a:lstStyle/>
          <a:p>
            <a:fld id="{55B617DF-0598-4CB7-9ACB-BD8355A1A30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24" name="AutoShape 88"/>
          <p:cNvSpPr>
            <a:spLocks noChangeArrowheads="1"/>
          </p:cNvSpPr>
          <p:nvPr/>
        </p:nvSpPr>
        <p:spPr bwMode="gray">
          <a:xfrm rot="5400000">
            <a:off x="1156087" y="5351937"/>
            <a:ext cx="691633" cy="258615"/>
          </a:xfrm>
          <a:prstGeom prst="triangle">
            <a:avLst>
              <a:gd name="adj" fmla="val 50000"/>
            </a:avLst>
          </a:prstGeom>
          <a:solidFill>
            <a:srgbClr val="003E77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rot="10800000" vert="eaVert" wrap="none" lIns="82529" tIns="42920" rIns="82529" bIns="42920" anchor="ctr"/>
          <a:lstStyle>
            <a:lvl1pPr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742950" indent="-28575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720725" eaLnBrk="0" hangingPunct="0">
              <a:lnSpc>
                <a:spcPts val="2200"/>
              </a:lnSpc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720725" eaLnBrk="0" fontAlgn="base" hangingPunct="0">
              <a:lnSpc>
                <a:spcPts val="2200"/>
              </a:lnSpc>
              <a:spcBef>
                <a:spcPct val="0"/>
              </a:spcBef>
              <a:spcAft>
                <a:spcPct val="20000"/>
              </a:spcAft>
              <a:buClr>
                <a:srgbClr val="DBE0E4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just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7A"/>
              </a:buClr>
              <a:buSzPct val="70000"/>
              <a:buFont typeface="Wingdings" pitchFamily="2" charset="2"/>
              <a:buNone/>
              <a:defRPr/>
            </a:pPr>
            <a:endParaRPr lang="ru-RU" alt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9480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njYPAinP5128OYPl.5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p7EUvquprmtvgHFvMbB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njYPAinP5128OYPl.5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ce0LyocthlQ3HHS0UW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ewgoOWMegvRGTeBbws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njYPAinP5128OYPl.5f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p7EUvquprmtvgHFvMb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njYPAinP5128OYPl.5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p7EUvquprmtvgHFvMb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njYPAinP5128OYPl.5f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njYPAinP5128OYPl.5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p7EUvquprmtvgHFvMbB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njYPAinP5128OYPl.5f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ce0LyocthlQ3HHS0UW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ewgoOWMegvRGTeBbwsZ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njYPAinP5128OYPl.5f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ce0LyocthlQ3HHS0UWO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ewgoOWMegvRGTeBbws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nHo955YUymjpGxtyEZX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nHo955YUymjpGxtyEZX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nHo955YUymjpGxtyEZ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nHo955YUymjpGxtyEZX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MF_KeGjyhq1TBfaj6c8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ce0LyocthlQ3HHS0UW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ewgoOWMegvRGTeBbwsZQ"/>
</p:tagLst>
</file>

<file path=ppt/theme/theme1.xml><?xml version="1.0" encoding="utf-8"?>
<a:theme xmlns:a="http://schemas.openxmlformats.org/drawingml/2006/main" name="Vortragsteil">
  <a:themeElements>
    <a:clrScheme name="BBU Designfarben 2020">
      <a:dk1>
        <a:sysClr val="windowText" lastClr="000000"/>
      </a:dk1>
      <a:lt1>
        <a:sysClr val="window" lastClr="FFFFFF"/>
      </a:lt1>
      <a:dk2>
        <a:srgbClr val="003E77"/>
      </a:dk2>
      <a:lt2>
        <a:srgbClr val="E7E6E6"/>
      </a:lt2>
      <a:accent1>
        <a:srgbClr val="003E77"/>
      </a:accent1>
      <a:accent2>
        <a:srgbClr val="009EE3"/>
      </a:accent2>
      <a:accent3>
        <a:srgbClr val="AE79B3"/>
      </a:accent3>
      <a:accent4>
        <a:srgbClr val="0096AF"/>
      </a:accent4>
      <a:accent5>
        <a:srgbClr val="BFBFBF"/>
      </a:accent5>
      <a:accent6>
        <a:srgbClr val="6F6F6F"/>
      </a:accent6>
      <a:hlink>
        <a:srgbClr val="009EE3"/>
      </a:hlink>
      <a:folHlink>
        <a:srgbClr val="9C9C9C"/>
      </a:folHlink>
    </a:clrScheme>
    <a:fontScheme name="Beiten Burkhard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lnSpc>
            <a:spcPts val="2200"/>
          </a:lnSpc>
          <a:defRPr sz="1700" dirty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BU_Praesentation_2020_05_27_v1.potx" id="{89FD2C87-57A1-4E27-8955-8C88B55AA1CA}" vid="{647F1B26-C132-49CC-8698-1C9EA0188ED0}"/>
    </a:ext>
  </a:extLst>
</a:theme>
</file>

<file path=ppt/theme/theme10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EITEN BURKHARDT_Informationen">
  <a:themeElements>
    <a:clrScheme name="BBU Designfarben 2020">
      <a:dk1>
        <a:sysClr val="windowText" lastClr="000000"/>
      </a:dk1>
      <a:lt1>
        <a:sysClr val="window" lastClr="FFFFFF"/>
      </a:lt1>
      <a:dk2>
        <a:srgbClr val="003E77"/>
      </a:dk2>
      <a:lt2>
        <a:srgbClr val="E7E6E6"/>
      </a:lt2>
      <a:accent1>
        <a:srgbClr val="003E77"/>
      </a:accent1>
      <a:accent2>
        <a:srgbClr val="009EE3"/>
      </a:accent2>
      <a:accent3>
        <a:srgbClr val="AE79B3"/>
      </a:accent3>
      <a:accent4>
        <a:srgbClr val="0096AF"/>
      </a:accent4>
      <a:accent5>
        <a:srgbClr val="BFBFBF"/>
      </a:accent5>
      <a:accent6>
        <a:srgbClr val="6F6F6F"/>
      </a:accent6>
      <a:hlink>
        <a:srgbClr val="009EE3"/>
      </a:hlink>
      <a:folHlink>
        <a:srgbClr val="9C9C9C"/>
      </a:folHlink>
    </a:clrScheme>
    <a:fontScheme name="Beiten Burkhard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lnSpc>
            <a:spcPts val="2200"/>
          </a:lnSpc>
          <a:defRPr sz="1700" dirty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BU_Praesentation_2020_05_27_v1.potx" id="{89FD2C87-57A1-4E27-8955-8C88B55AA1CA}" vid="{647F1B26-C132-49CC-8698-1C9EA0188ED0}"/>
    </a:ext>
  </a:extLst>
</a:theme>
</file>

<file path=ppt/theme/theme3.xml><?xml version="1.0" encoding="utf-8"?>
<a:theme xmlns:a="http://schemas.openxmlformats.org/drawingml/2006/main" name="2_Vortragsteil">
  <a:themeElements>
    <a:clrScheme name="BBU Designfarben 2020">
      <a:dk1>
        <a:sysClr val="windowText" lastClr="000000"/>
      </a:dk1>
      <a:lt1>
        <a:sysClr val="window" lastClr="FFFFFF"/>
      </a:lt1>
      <a:dk2>
        <a:srgbClr val="003E77"/>
      </a:dk2>
      <a:lt2>
        <a:srgbClr val="E7E6E6"/>
      </a:lt2>
      <a:accent1>
        <a:srgbClr val="003E77"/>
      </a:accent1>
      <a:accent2>
        <a:srgbClr val="009EE3"/>
      </a:accent2>
      <a:accent3>
        <a:srgbClr val="AE79B3"/>
      </a:accent3>
      <a:accent4>
        <a:srgbClr val="0096AF"/>
      </a:accent4>
      <a:accent5>
        <a:srgbClr val="BFBFBF"/>
      </a:accent5>
      <a:accent6>
        <a:srgbClr val="6F6F6F"/>
      </a:accent6>
      <a:hlink>
        <a:srgbClr val="009EE3"/>
      </a:hlink>
      <a:folHlink>
        <a:srgbClr val="9C9C9C"/>
      </a:folHlink>
    </a:clrScheme>
    <a:fontScheme name="Beiten Burkhard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lnSpc>
            <a:spcPts val="2200"/>
          </a:lnSpc>
          <a:defRPr sz="1700" dirty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BU_Praesentation_2020_05_27_v1.potx" id="{89FD2C87-57A1-4E27-8955-8C88B55AA1CA}" vid="{647F1B26-C132-49CC-8698-1C9EA0188ED0}"/>
    </a:ext>
  </a:extLst>
</a:theme>
</file>

<file path=ppt/theme/theme4.xml><?xml version="1.0" encoding="utf-8"?>
<a:theme xmlns:a="http://schemas.openxmlformats.org/drawingml/2006/main" name="1_BEITEN BURKHARDT_Informationen">
  <a:themeElements>
    <a:clrScheme name="BBU Designfarben 2020">
      <a:dk1>
        <a:sysClr val="windowText" lastClr="000000"/>
      </a:dk1>
      <a:lt1>
        <a:sysClr val="window" lastClr="FFFFFF"/>
      </a:lt1>
      <a:dk2>
        <a:srgbClr val="003E77"/>
      </a:dk2>
      <a:lt2>
        <a:srgbClr val="E7E6E6"/>
      </a:lt2>
      <a:accent1>
        <a:srgbClr val="003E77"/>
      </a:accent1>
      <a:accent2>
        <a:srgbClr val="009EE3"/>
      </a:accent2>
      <a:accent3>
        <a:srgbClr val="AE79B3"/>
      </a:accent3>
      <a:accent4>
        <a:srgbClr val="0096AF"/>
      </a:accent4>
      <a:accent5>
        <a:srgbClr val="BFBFBF"/>
      </a:accent5>
      <a:accent6>
        <a:srgbClr val="6F6F6F"/>
      </a:accent6>
      <a:hlink>
        <a:srgbClr val="009EE3"/>
      </a:hlink>
      <a:folHlink>
        <a:srgbClr val="9C9C9C"/>
      </a:folHlink>
    </a:clrScheme>
    <a:fontScheme name="Beiten Burkhard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lnSpc>
            <a:spcPts val="2200"/>
          </a:lnSpc>
          <a:defRPr sz="1700" dirty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BU_Praesentation_2020_05_27_v1.potx" id="{89FD2C87-57A1-4E27-8955-8C88B55AA1CA}" vid="{647F1B26-C132-49CC-8698-1C9EA0188ED0}"/>
    </a:ext>
  </a:extLst>
</a:theme>
</file>

<file path=ppt/theme/theme5.xml><?xml version="1.0" encoding="utf-8"?>
<a:theme xmlns:a="http://schemas.openxmlformats.org/drawingml/2006/main" name="2_BEITEN BURKHARDT_Informationen">
  <a:themeElements>
    <a:clrScheme name="BBU Designfarben 2020">
      <a:dk1>
        <a:sysClr val="windowText" lastClr="000000"/>
      </a:dk1>
      <a:lt1>
        <a:sysClr val="window" lastClr="FFFFFF"/>
      </a:lt1>
      <a:dk2>
        <a:srgbClr val="003E77"/>
      </a:dk2>
      <a:lt2>
        <a:srgbClr val="E7E6E6"/>
      </a:lt2>
      <a:accent1>
        <a:srgbClr val="003E77"/>
      </a:accent1>
      <a:accent2>
        <a:srgbClr val="009EE3"/>
      </a:accent2>
      <a:accent3>
        <a:srgbClr val="AE79B3"/>
      </a:accent3>
      <a:accent4>
        <a:srgbClr val="0096AF"/>
      </a:accent4>
      <a:accent5>
        <a:srgbClr val="BFBFBF"/>
      </a:accent5>
      <a:accent6>
        <a:srgbClr val="6F6F6F"/>
      </a:accent6>
      <a:hlink>
        <a:srgbClr val="009EE3"/>
      </a:hlink>
      <a:folHlink>
        <a:srgbClr val="9C9C9C"/>
      </a:folHlink>
    </a:clrScheme>
    <a:fontScheme name="Beiten Burkhard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lnSpc>
            <a:spcPts val="2200"/>
          </a:lnSpc>
          <a:defRPr sz="1700" dirty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BU_Praesentation_2020_05_27_v1.potx" id="{89FD2C87-57A1-4E27-8955-8C88B55AA1CA}" vid="{647F1B26-C132-49CC-8698-1C9EA0188ED0}"/>
    </a:ext>
  </a:extLst>
</a:theme>
</file>

<file path=ppt/theme/theme6.xml><?xml version="1.0" encoding="utf-8"?>
<a:theme xmlns:a="http://schemas.openxmlformats.org/drawingml/2006/main" name="3_BEITEN BURKHARDT_Informationen">
  <a:themeElements>
    <a:clrScheme name="BBU Designfarben 2020">
      <a:dk1>
        <a:sysClr val="windowText" lastClr="000000"/>
      </a:dk1>
      <a:lt1>
        <a:sysClr val="window" lastClr="FFFFFF"/>
      </a:lt1>
      <a:dk2>
        <a:srgbClr val="003E77"/>
      </a:dk2>
      <a:lt2>
        <a:srgbClr val="E7E6E6"/>
      </a:lt2>
      <a:accent1>
        <a:srgbClr val="003E77"/>
      </a:accent1>
      <a:accent2>
        <a:srgbClr val="009EE3"/>
      </a:accent2>
      <a:accent3>
        <a:srgbClr val="AE79B3"/>
      </a:accent3>
      <a:accent4>
        <a:srgbClr val="0096AF"/>
      </a:accent4>
      <a:accent5>
        <a:srgbClr val="BFBFBF"/>
      </a:accent5>
      <a:accent6>
        <a:srgbClr val="6F6F6F"/>
      </a:accent6>
      <a:hlink>
        <a:srgbClr val="009EE3"/>
      </a:hlink>
      <a:folHlink>
        <a:srgbClr val="9C9C9C"/>
      </a:folHlink>
    </a:clrScheme>
    <a:fontScheme name="Beiten Burkhard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lnSpc>
            <a:spcPts val="2200"/>
          </a:lnSpc>
          <a:defRPr sz="1700" dirty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BU_Praesentation_2020_05_27_v1.potx" id="{89FD2C87-57A1-4E27-8955-8C88B55AA1CA}" vid="{647F1B26-C132-49CC-8698-1C9EA0188ED0}"/>
    </a:ext>
  </a:extLst>
</a:theme>
</file>

<file path=ppt/theme/theme7.xml><?xml version="1.0" encoding="utf-8"?>
<a:theme xmlns:a="http://schemas.openxmlformats.org/drawingml/2006/main" name="1_Vortragsteil">
  <a:themeElements>
    <a:clrScheme name="BBU Designfarben 2020">
      <a:dk1>
        <a:sysClr val="windowText" lastClr="000000"/>
      </a:dk1>
      <a:lt1>
        <a:sysClr val="window" lastClr="FFFFFF"/>
      </a:lt1>
      <a:dk2>
        <a:srgbClr val="003E77"/>
      </a:dk2>
      <a:lt2>
        <a:srgbClr val="E7E6E6"/>
      </a:lt2>
      <a:accent1>
        <a:srgbClr val="003E77"/>
      </a:accent1>
      <a:accent2>
        <a:srgbClr val="009EE3"/>
      </a:accent2>
      <a:accent3>
        <a:srgbClr val="AE79B3"/>
      </a:accent3>
      <a:accent4>
        <a:srgbClr val="0096AF"/>
      </a:accent4>
      <a:accent5>
        <a:srgbClr val="BFBFBF"/>
      </a:accent5>
      <a:accent6>
        <a:srgbClr val="6F6F6F"/>
      </a:accent6>
      <a:hlink>
        <a:srgbClr val="009EE3"/>
      </a:hlink>
      <a:folHlink>
        <a:srgbClr val="9C9C9C"/>
      </a:folHlink>
    </a:clrScheme>
    <a:fontScheme name="Beiten Burkhard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lnSpc>
            <a:spcPts val="2200"/>
          </a:lnSpc>
          <a:defRPr sz="1700" dirty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BU_Praesentation_2020_05_27_v1.potx" id="{89FD2C87-57A1-4E27-8955-8C88B55AA1CA}" vid="{647F1B26-C132-49CC-8698-1C9EA0188ED0}"/>
    </a:ext>
  </a:extLst>
</a:theme>
</file>

<file path=ppt/theme/theme8.xml><?xml version="1.0" encoding="utf-8"?>
<a:theme xmlns:a="http://schemas.openxmlformats.org/drawingml/2006/main" name="3_Vortragsteil">
  <a:themeElements>
    <a:clrScheme name="BBU Designfarben 2020">
      <a:dk1>
        <a:sysClr val="windowText" lastClr="000000"/>
      </a:dk1>
      <a:lt1>
        <a:sysClr val="window" lastClr="FFFFFF"/>
      </a:lt1>
      <a:dk2>
        <a:srgbClr val="003E77"/>
      </a:dk2>
      <a:lt2>
        <a:srgbClr val="E7E6E6"/>
      </a:lt2>
      <a:accent1>
        <a:srgbClr val="003E77"/>
      </a:accent1>
      <a:accent2>
        <a:srgbClr val="009EE3"/>
      </a:accent2>
      <a:accent3>
        <a:srgbClr val="AE79B3"/>
      </a:accent3>
      <a:accent4>
        <a:srgbClr val="0096AF"/>
      </a:accent4>
      <a:accent5>
        <a:srgbClr val="BFBFBF"/>
      </a:accent5>
      <a:accent6>
        <a:srgbClr val="6F6F6F"/>
      </a:accent6>
      <a:hlink>
        <a:srgbClr val="009EE3"/>
      </a:hlink>
      <a:folHlink>
        <a:srgbClr val="9C9C9C"/>
      </a:folHlink>
    </a:clrScheme>
    <a:fontScheme name="Beiten Burkhard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lnSpc>
            <a:spcPts val="2200"/>
          </a:lnSpc>
          <a:defRPr sz="1700" dirty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BU_Praesentation_2020_05_27_v1.potx" id="{89FD2C87-57A1-4E27-8955-8C88B55AA1CA}" vid="{647F1B26-C132-49CC-8698-1C9EA0188ED0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Rubrik xmlns="fe34f02f-6d04-484d-9c1a-12d66ffdc9f2">Präsentation</Rubrik>
    <Vorlage_x0020_f_x00fc_r xmlns="fe34f02f-6d04-484d-9c1a-12d66ffdc9f2" xsi:nil="true"/>
    <Ma_x00df_e xmlns="fe34f02f-6d04-484d-9c1a-12d66ffdc9f2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ED57FECA48EFC41997C1FA8E1EBCD31" ma:contentTypeVersion="3" ma:contentTypeDescription="Create a new document." ma:contentTypeScope="" ma:versionID="501e0c218b3e0ec9ad90c4497b4211be">
  <xsd:schema xmlns:xsd="http://www.w3.org/2001/XMLSchema" xmlns:p="http://schemas.microsoft.com/office/2006/metadata/properties" xmlns:ns2="fe34f02f-6d04-484d-9c1a-12d66ffdc9f2" targetNamespace="http://schemas.microsoft.com/office/2006/metadata/properties" ma:root="true" ma:fieldsID="142e48ee9b3f5aba752e912a0628cec5" ns2:_="">
    <xsd:import namespace="fe34f02f-6d04-484d-9c1a-12d66ffdc9f2"/>
    <xsd:element name="properties">
      <xsd:complexType>
        <xsd:sequence>
          <xsd:element name="documentManagement">
            <xsd:complexType>
              <xsd:all>
                <xsd:element ref="ns2:Rubrik" minOccurs="0"/>
                <xsd:element ref="ns2:Vorlage_x0020_f_x00fc_r" minOccurs="0"/>
                <xsd:element ref="ns2:Ma_x00df_e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fe34f02f-6d04-484d-9c1a-12d66ffdc9f2" elementFormDefault="qualified">
    <xsd:import namespace="http://schemas.microsoft.com/office/2006/documentManagement/types"/>
    <xsd:element name="Rubrik" ma:index="8" nillable="true" ma:displayName="Vorlage" ma:default="Präsentation" ma:format="Dropdown" ma:internalName="Rubrik">
      <xsd:simpleType>
        <xsd:restriction base="dms:Choice">
          <xsd:enumeration value="Präsentation"/>
          <xsd:enumeration value="Namensschilder"/>
          <xsd:enumeration value="Saalausschilderung"/>
          <xsd:enumeration value="Tischnamensschilder"/>
        </xsd:restriction>
      </xsd:simpleType>
    </xsd:element>
    <xsd:element name="Vorlage_x0020_f_x00fc_r" ma:index="9" nillable="true" ma:displayName="Vorlage für" ma:format="Dropdown" ma:internalName="Vorlage_x0020_f_x00fc_r">
      <xsd:simpleType>
        <xsd:restriction base="dms:Choice">
          <xsd:enumeration value="BB-Mitarbeiter"/>
          <xsd:enumeration value="Gäste"/>
        </xsd:restriction>
      </xsd:simpleType>
    </xsd:element>
    <xsd:element name="Ma_x00df_e" ma:index="10" nillable="true" ma:displayName="Maße" ma:format="Dropdown" ma:internalName="Ma_x00df_e">
      <xsd:simpleType>
        <xsd:restriction base="dms:Choice">
          <xsd:enumeration value="40 x 75 mm"/>
          <xsd:enumeration value="54 x 90 mm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263A7198-734A-4AC2-AA3F-5D3C2D25677A}">
  <ds:schemaRefs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elements/1.1/"/>
    <ds:schemaRef ds:uri="http://purl.org/dc/dcmitype/"/>
    <ds:schemaRef ds:uri="fe34f02f-6d04-484d-9c1a-12d66ffdc9f2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260AD1C-C69F-4157-A19C-E063BD79BCA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0426F29-BC14-4E75-95F3-17434CE579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34f02f-6d04-484d-9c1a-12d66ffdc9f2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usterpräsentation für Veranstaltungen - DEU</Template>
  <TotalTime>0</TotalTime>
  <Words>2597</Words>
  <Application>Microsoft Office PowerPoint</Application>
  <PresentationFormat>Breitbild</PresentationFormat>
  <Paragraphs>377</Paragraphs>
  <Slides>40</Slides>
  <Notes>1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8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0</vt:i4>
      </vt:variant>
    </vt:vector>
  </HeadingPairs>
  <TitlesOfParts>
    <vt:vector size="53" baseType="lpstr">
      <vt:lpstr>Arial</vt:lpstr>
      <vt:lpstr>Calibri</vt:lpstr>
      <vt:lpstr>Symbol</vt:lpstr>
      <vt:lpstr>Wingdings</vt:lpstr>
      <vt:lpstr>Vortragsteil</vt:lpstr>
      <vt:lpstr>BEITEN BURKHARDT_Informationen</vt:lpstr>
      <vt:lpstr>2_Vortragsteil</vt:lpstr>
      <vt:lpstr>1_BEITEN BURKHARDT_Informationen</vt:lpstr>
      <vt:lpstr>2_BEITEN BURKHARDT_Informationen</vt:lpstr>
      <vt:lpstr>3_BEITEN BURKHARDT_Informationen</vt:lpstr>
      <vt:lpstr>1_Vortragsteil</vt:lpstr>
      <vt:lpstr>3_Vortragsteil</vt:lpstr>
      <vt:lpstr>think-cell Folie</vt:lpstr>
      <vt:lpstr>Ответственность за нарушение  Антимонопольных требований</vt:lpstr>
      <vt:lpstr>Антимонопольное регулирование</vt:lpstr>
      <vt:lpstr>Статистика (I) рассмотрения дел ФАС России</vt:lpstr>
      <vt:lpstr>Статистика (II) Картели на торгах</vt:lpstr>
      <vt:lpstr>Статистика (III) Сумма наложенных штрафов</vt:lpstr>
      <vt:lpstr>Статистика (IV) Предупреждение / Предостережение</vt:lpstr>
      <vt:lpstr>Статистика (V) Судебная практика ФАС России</vt:lpstr>
      <vt:lpstr>Картельные соглашения</vt:lpstr>
      <vt:lpstr>Картельные соглашения</vt:lpstr>
      <vt:lpstr>Признаки картеля. Раздел товарного рынка</vt:lpstr>
      <vt:lpstr>Ответственность за заключение картельных соглашений</vt:lpstr>
      <vt:lpstr>Уголовная ответственность</vt:lpstr>
      <vt:lpstr>«Антикартельный пакет»</vt:lpstr>
      <vt:lpstr>"Вертикальные" соглашения</vt:lpstr>
      <vt:lpstr>Вертикальные соглашения</vt:lpstr>
      <vt:lpstr>Недопустимые вертикальные соглашения: Установление цены перепродажи товара</vt:lpstr>
      <vt:lpstr>Недопустимые вертикальные соглашения:  условные запреты</vt:lpstr>
      <vt:lpstr>Ответственность за заключение запрещенных "вертикальных" соглашений</vt:lpstr>
      <vt:lpstr>Административная ответственность</vt:lpstr>
      <vt:lpstr>Координация экономической деятельности</vt:lpstr>
      <vt:lpstr>Понятие координации экономической деятельности (I)</vt:lpstr>
      <vt:lpstr>Понятие координации экономической деятельности (II)</vt:lpstr>
      <vt:lpstr>Признаки координации экономической деятельности</vt:lpstr>
      <vt:lpstr>Снижение риска осуществления запрещенной координации экономической деятельности</vt:lpstr>
      <vt:lpstr>Ответственность за недопустимую координацию экономической деятельности</vt:lpstr>
      <vt:lpstr>Антимонопольное регулирование  при проведении торгов</vt:lpstr>
      <vt:lpstr>Антимонопольное регулирование при проведении торгов, запросов котировок, запросов предложений</vt:lpstr>
      <vt:lpstr>Примеры</vt:lpstr>
      <vt:lpstr>РЕЕСТР недобросовестных поставщиков</vt:lpstr>
      <vt:lpstr>Злоупотребления  при реализации товаров</vt:lpstr>
      <vt:lpstr>Злоупотребление доминирующим положением (I)</vt:lpstr>
      <vt:lpstr>Основные понятия: "доминирующее положение"</vt:lpstr>
      <vt:lpstr>Злоупотребление доминирующим положением (II)</vt:lpstr>
      <vt:lpstr>Ответственность за злоупотребление доминирующим положением</vt:lpstr>
      <vt:lpstr>Разъяснения верховного суда по вопросам применения антимонопольного законодательства</vt:lpstr>
      <vt:lpstr>Разъяснения верховного суда по вопросам применения антимонопольного законодательства (I)</vt:lpstr>
      <vt:lpstr>Разъяснения верховного суда по вопросам применения антимонопольного законодательства (iI)</vt:lpstr>
      <vt:lpstr>докладчик</vt:lpstr>
      <vt:lpstr>Александр Безбородов</vt:lpstr>
      <vt:lpstr>PowerPoint-Präsentation</vt:lpstr>
    </vt:vector>
  </TitlesOfParts>
  <Company>BEITEN BURKHARD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s Vortrags</dc:title>
  <dc:creator>Christine Kaiser</dc:creator>
  <cp:lastModifiedBy>ems52</cp:lastModifiedBy>
  <cp:revision>152</cp:revision>
  <cp:lastPrinted>2020-07-27T13:53:36Z</cp:lastPrinted>
  <dcterms:created xsi:type="dcterms:W3CDTF">2020-07-02T13:09:25Z</dcterms:created>
  <dcterms:modified xsi:type="dcterms:W3CDTF">2021-04-13T14:26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D57FECA48EFC41997C1FA8E1EBCD31</vt:lpwstr>
  </property>
</Properties>
</file>